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Override1.xml" ContentType="application/vnd.openxmlformats-officedocument.themeOverride+xml"/>
  <Override PartName="/ppt/tags/tag2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896" r:id="rId4"/>
    <p:sldMasterId id="2147483929" r:id="rId5"/>
  </p:sldMasterIdLst>
  <p:notesMasterIdLst>
    <p:notesMasterId r:id="rId32"/>
  </p:notesMasterIdLst>
  <p:handoutMasterIdLst>
    <p:handoutMasterId r:id="rId33"/>
  </p:handoutMasterIdLst>
  <p:sldIdLst>
    <p:sldId id="455" r:id="rId6"/>
    <p:sldId id="306" r:id="rId7"/>
    <p:sldId id="453" r:id="rId8"/>
    <p:sldId id="404" r:id="rId9"/>
    <p:sldId id="460" r:id="rId10"/>
    <p:sldId id="461" r:id="rId11"/>
    <p:sldId id="408" r:id="rId12"/>
    <p:sldId id="410" r:id="rId13"/>
    <p:sldId id="462" r:id="rId14"/>
    <p:sldId id="411" r:id="rId15"/>
    <p:sldId id="415" r:id="rId16"/>
    <p:sldId id="463" r:id="rId17"/>
    <p:sldId id="454" r:id="rId18"/>
    <p:sldId id="428" r:id="rId19"/>
    <p:sldId id="433" r:id="rId20"/>
    <p:sldId id="419" r:id="rId21"/>
    <p:sldId id="420" r:id="rId22"/>
    <p:sldId id="464" r:id="rId23"/>
    <p:sldId id="447" r:id="rId24"/>
    <p:sldId id="448" r:id="rId25"/>
    <p:sldId id="449" r:id="rId26"/>
    <p:sldId id="431" r:id="rId27"/>
    <p:sldId id="456" r:id="rId28"/>
    <p:sldId id="457" r:id="rId29"/>
    <p:sldId id="458" r:id="rId30"/>
    <p:sldId id="459" r:id="rId31"/>
  </p:sldIdLst>
  <p:sldSz cx="9144000" cy="6858000" type="screen4x3"/>
  <p:notesSz cx="6934200" cy="9232900"/>
  <p:defaultTex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tammer, Jodi" initials="" lastIdx="79" clrIdx="0"/>
  <p:cmAuthor id="7" name="Ahmed, Mohammed" initials="MA" lastIdx="1" clrIdx="7"/>
  <p:cmAuthor id="1" name="Youngraven, Leah" initials="" lastIdx="20" clrIdx="1"/>
  <p:cmAuthor id="2" name="Brittain, Dorothy" initials="" lastIdx="1" clrIdx="2"/>
  <p:cmAuthor id="3" name="Currie, Myles" initials="" lastIdx="7" clrIdx="3"/>
  <p:cmAuthor id="4" name="Piper, David" initials="DP" lastIdx="18" clrIdx="4"/>
  <p:cmAuthor id="5" name="Brodsky, Michael E" initials="MB" lastIdx="16" clrIdx="5"/>
  <p:cmAuthor id="6" name="Weisman, Adam" initials="AW" lastIdx="1" clrIdx="6"/>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7F7F7F"/>
    <a:srgbClr val="002776"/>
    <a:srgbClr val="92D400"/>
    <a:srgbClr val="72C7E7"/>
    <a:srgbClr val="3C8A2D"/>
    <a:srgbClr val="C9DD03"/>
    <a:srgbClr val="97A602"/>
    <a:srgbClr val="0079A6"/>
    <a:srgbClr val="6D9F00"/>
    <a:srgbClr val="2D682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130" autoAdjust="0"/>
    <p:restoredTop sz="96403" autoAdjust="0"/>
  </p:normalViewPr>
  <p:slideViewPr>
    <p:cSldViewPr snapToGrid="0">
      <p:cViewPr>
        <p:scale>
          <a:sx n="70" d="100"/>
          <a:sy n="70" d="100"/>
        </p:scale>
        <p:origin x="-1854" y="-504"/>
      </p:cViewPr>
      <p:guideLst>
        <p:guide orient="horz" pos="882"/>
        <p:guide orient="horz" pos="491"/>
        <p:guide orient="horz" pos="158"/>
        <p:guide orient="horz" pos="4166"/>
        <p:guide orient="horz" pos="727"/>
        <p:guide orient="horz" pos="4274"/>
        <p:guide orient="horz" pos="3960"/>
        <p:guide pos="2882"/>
        <p:guide pos="255"/>
        <p:guide pos="5504"/>
        <p:guide pos="2982"/>
        <p:guide pos="2778"/>
        <p:guide pos="369"/>
        <p:guide pos="5391"/>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100" d="100"/>
          <a:sy n="100" d="100"/>
        </p:scale>
        <p:origin x="-2568" y="1680"/>
      </p:cViewPr>
      <p:guideLst>
        <p:guide orient="horz" pos="2908"/>
        <p:guide pos="218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commentAuthors" Target="commen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0"/>
            <a:ext cx="3006426" cy="460384"/>
          </a:xfrm>
          <a:prstGeom prst="rect">
            <a:avLst/>
          </a:prstGeom>
          <a:noFill/>
          <a:ln w="9525">
            <a:noFill/>
            <a:miter lim="800000"/>
            <a:headEnd/>
            <a:tailEnd/>
          </a:ln>
        </p:spPr>
        <p:txBody>
          <a:bodyPr vert="horz" wrap="square" lIns="63442" tIns="31721" rIns="63442" bIns="31721" numCol="1" anchor="t" anchorCtr="0" compatLnSpc="1">
            <a:prstTxWarp prst="textNoShape">
              <a:avLst/>
            </a:prstTxWarp>
          </a:bodyPr>
          <a:lstStyle>
            <a:lvl1pPr algn="l" defTabSz="635000">
              <a:spcBef>
                <a:spcPct val="0"/>
              </a:spcBef>
              <a:defRPr sz="800" b="0"/>
            </a:lvl1pPr>
          </a:lstStyle>
          <a:p>
            <a:endParaRPr lang="en-GB" dirty="0"/>
          </a:p>
        </p:txBody>
      </p:sp>
      <p:sp>
        <p:nvSpPr>
          <p:cNvPr id="3" name="Date Placeholder 2"/>
          <p:cNvSpPr>
            <a:spLocks noGrp="1"/>
          </p:cNvSpPr>
          <p:nvPr>
            <p:ph type="dt" sz="quarter" idx="1"/>
          </p:nvPr>
        </p:nvSpPr>
        <p:spPr bwMode="auto">
          <a:xfrm>
            <a:off x="3927775" y="0"/>
            <a:ext cx="3004820" cy="460384"/>
          </a:xfrm>
          <a:prstGeom prst="rect">
            <a:avLst/>
          </a:prstGeom>
          <a:noFill/>
          <a:ln w="9525">
            <a:noFill/>
            <a:miter lim="800000"/>
            <a:headEnd/>
            <a:tailEnd/>
          </a:ln>
        </p:spPr>
        <p:txBody>
          <a:bodyPr vert="horz" wrap="square" lIns="63442" tIns="31721" rIns="63442" bIns="31721" numCol="1" anchor="t" anchorCtr="0" compatLnSpc="1">
            <a:prstTxWarp prst="textNoShape">
              <a:avLst/>
            </a:prstTxWarp>
          </a:bodyPr>
          <a:lstStyle>
            <a:lvl1pPr algn="r" defTabSz="635000">
              <a:spcBef>
                <a:spcPct val="0"/>
              </a:spcBef>
              <a:defRPr sz="800" b="0"/>
            </a:lvl1pPr>
          </a:lstStyle>
          <a:p>
            <a:fld id="{55F4F54F-BFE9-4158-8CC4-DD040336CB83}" type="datetimeFigureOut">
              <a:rPr lang="en-US"/>
              <a:pPr/>
              <a:t>3/9/2012</a:t>
            </a:fld>
            <a:endParaRPr lang="en-GB" dirty="0"/>
          </a:p>
        </p:txBody>
      </p:sp>
      <p:sp>
        <p:nvSpPr>
          <p:cNvPr id="4" name="Footer Placeholder 3"/>
          <p:cNvSpPr>
            <a:spLocks noGrp="1"/>
          </p:cNvSpPr>
          <p:nvPr>
            <p:ph type="ftr" sz="quarter" idx="2"/>
          </p:nvPr>
        </p:nvSpPr>
        <p:spPr bwMode="auto">
          <a:xfrm>
            <a:off x="0" y="8770940"/>
            <a:ext cx="3006426" cy="460384"/>
          </a:xfrm>
          <a:prstGeom prst="rect">
            <a:avLst/>
          </a:prstGeom>
          <a:noFill/>
          <a:ln w="9525">
            <a:noFill/>
            <a:miter lim="800000"/>
            <a:headEnd/>
            <a:tailEnd/>
          </a:ln>
        </p:spPr>
        <p:txBody>
          <a:bodyPr vert="horz" wrap="square" lIns="63442" tIns="31721" rIns="63442" bIns="31721" numCol="1" anchor="b" anchorCtr="0" compatLnSpc="1">
            <a:prstTxWarp prst="textNoShape">
              <a:avLst/>
            </a:prstTxWarp>
          </a:bodyPr>
          <a:lstStyle>
            <a:lvl1pPr algn="l" defTabSz="635000">
              <a:spcBef>
                <a:spcPct val="0"/>
              </a:spcBef>
              <a:defRPr sz="800" b="0"/>
            </a:lvl1pPr>
          </a:lstStyle>
          <a:p>
            <a:endParaRPr lang="en-GB" dirty="0"/>
          </a:p>
        </p:txBody>
      </p:sp>
      <p:sp>
        <p:nvSpPr>
          <p:cNvPr id="5" name="Slide Number Placeholder 4"/>
          <p:cNvSpPr>
            <a:spLocks noGrp="1"/>
          </p:cNvSpPr>
          <p:nvPr>
            <p:ph type="sldNum" sz="quarter" idx="3"/>
          </p:nvPr>
        </p:nvSpPr>
        <p:spPr bwMode="auto">
          <a:xfrm>
            <a:off x="3927775" y="8770940"/>
            <a:ext cx="3004820" cy="460384"/>
          </a:xfrm>
          <a:prstGeom prst="rect">
            <a:avLst/>
          </a:prstGeom>
          <a:noFill/>
          <a:ln w="9525">
            <a:noFill/>
            <a:miter lim="800000"/>
            <a:headEnd/>
            <a:tailEnd/>
          </a:ln>
        </p:spPr>
        <p:txBody>
          <a:bodyPr vert="horz" wrap="square" lIns="63442" tIns="31721" rIns="63442" bIns="31721" numCol="1" anchor="b" anchorCtr="0" compatLnSpc="1">
            <a:prstTxWarp prst="textNoShape">
              <a:avLst/>
            </a:prstTxWarp>
          </a:bodyPr>
          <a:lstStyle>
            <a:lvl1pPr algn="r" defTabSz="635000">
              <a:spcBef>
                <a:spcPct val="0"/>
              </a:spcBef>
              <a:defRPr sz="800" b="0"/>
            </a:lvl1pPr>
          </a:lstStyle>
          <a:p>
            <a:fld id="{4A1FC2AB-82DE-43D4-878D-2B0CA2799EF2}" type="slidenum">
              <a:rPr lang="en-GB"/>
              <a:pPr/>
              <a:t>‹#›</a:t>
            </a:fld>
            <a:endParaRPr lang="en-GB" dirty="0"/>
          </a:p>
        </p:txBody>
      </p:sp>
    </p:spTree>
    <p:extLst>
      <p:ext uri="{BB962C8B-B14F-4D97-AF65-F5344CB8AC3E}">
        <p14:creationId xmlns:p14="http://schemas.microsoft.com/office/powerpoint/2010/main" val="32574597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0"/>
            <a:ext cx="3006426" cy="460384"/>
          </a:xfrm>
          <a:prstGeom prst="rect">
            <a:avLst/>
          </a:prstGeom>
          <a:noFill/>
          <a:ln w="9525">
            <a:noFill/>
            <a:miter lim="800000"/>
            <a:headEnd/>
            <a:tailEnd/>
          </a:ln>
        </p:spPr>
        <p:txBody>
          <a:bodyPr vert="horz" wrap="square" lIns="96723" tIns="48362" rIns="96723" bIns="48362" numCol="1" anchor="t" anchorCtr="0" compatLnSpc="1">
            <a:prstTxWarp prst="textNoShape">
              <a:avLst/>
            </a:prstTxWarp>
          </a:bodyPr>
          <a:lstStyle>
            <a:lvl1pPr algn="l" defTabSz="635000">
              <a:spcBef>
                <a:spcPct val="0"/>
              </a:spcBef>
              <a:defRPr sz="1200" b="0"/>
            </a:lvl1pPr>
          </a:lstStyle>
          <a:p>
            <a:endParaRPr lang="en-GB" dirty="0"/>
          </a:p>
        </p:txBody>
      </p:sp>
      <p:sp>
        <p:nvSpPr>
          <p:cNvPr id="3" name="Date Placeholder 2"/>
          <p:cNvSpPr>
            <a:spLocks noGrp="1"/>
          </p:cNvSpPr>
          <p:nvPr>
            <p:ph type="dt" idx="1"/>
          </p:nvPr>
        </p:nvSpPr>
        <p:spPr bwMode="auto">
          <a:xfrm>
            <a:off x="3927775" y="0"/>
            <a:ext cx="3004820" cy="460384"/>
          </a:xfrm>
          <a:prstGeom prst="rect">
            <a:avLst/>
          </a:prstGeom>
          <a:noFill/>
          <a:ln w="9525">
            <a:noFill/>
            <a:miter lim="800000"/>
            <a:headEnd/>
            <a:tailEnd/>
          </a:ln>
        </p:spPr>
        <p:txBody>
          <a:bodyPr vert="horz" wrap="square" lIns="96723" tIns="48362" rIns="96723" bIns="48362" numCol="1" anchor="t" anchorCtr="0" compatLnSpc="1">
            <a:prstTxWarp prst="textNoShape">
              <a:avLst/>
            </a:prstTxWarp>
          </a:bodyPr>
          <a:lstStyle>
            <a:lvl1pPr algn="r" defTabSz="635000">
              <a:spcBef>
                <a:spcPct val="0"/>
              </a:spcBef>
              <a:defRPr sz="1200" b="0"/>
            </a:lvl1pPr>
          </a:lstStyle>
          <a:p>
            <a:fld id="{48C56040-B352-4CF8-B5D5-F47EA68AB32D}" type="datetimeFigureOut">
              <a:rPr lang="en-US"/>
              <a:pPr/>
              <a:t>3/9/2012</a:t>
            </a:fld>
            <a:endParaRPr lang="en-GB" dirty="0"/>
          </a:p>
        </p:txBody>
      </p:sp>
      <p:sp>
        <p:nvSpPr>
          <p:cNvPr id="4" name="Slide Image Placeholder 3"/>
          <p:cNvSpPr>
            <a:spLocks noGrp="1" noRot="1" noChangeAspect="1"/>
          </p:cNvSpPr>
          <p:nvPr>
            <p:ph type="sldImg" idx="2"/>
          </p:nvPr>
        </p:nvSpPr>
        <p:spPr>
          <a:xfrm>
            <a:off x="1158875" y="693738"/>
            <a:ext cx="4616450" cy="3462337"/>
          </a:xfrm>
          <a:prstGeom prst="rect">
            <a:avLst/>
          </a:prstGeom>
          <a:noFill/>
          <a:ln w="12700">
            <a:solidFill>
              <a:prstClr val="black"/>
            </a:solidFill>
          </a:ln>
        </p:spPr>
        <p:txBody>
          <a:bodyPr vert="horz" lIns="139391" tIns="69696" rIns="139391" bIns="69696" rtlCol="0" anchor="ctr"/>
          <a:lstStyle/>
          <a:p>
            <a:pPr lvl="0"/>
            <a:endParaRPr lang="en-GB" noProof="0" dirty="0"/>
          </a:p>
        </p:txBody>
      </p:sp>
      <p:sp>
        <p:nvSpPr>
          <p:cNvPr id="5" name="Notes Placeholder 4"/>
          <p:cNvSpPr>
            <a:spLocks noGrp="1"/>
          </p:cNvSpPr>
          <p:nvPr>
            <p:ph type="body" sz="quarter" idx="3"/>
          </p:nvPr>
        </p:nvSpPr>
        <p:spPr bwMode="gray">
          <a:xfrm>
            <a:off x="691816" y="4386259"/>
            <a:ext cx="5550570" cy="92640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sp>
        <p:nvSpPr>
          <p:cNvPr id="6" name="Footer Placeholder 5"/>
          <p:cNvSpPr>
            <a:spLocks noGrp="1"/>
          </p:cNvSpPr>
          <p:nvPr>
            <p:ph type="ftr" sz="quarter" idx="4"/>
          </p:nvPr>
        </p:nvSpPr>
        <p:spPr bwMode="auto">
          <a:xfrm>
            <a:off x="0" y="8770940"/>
            <a:ext cx="3006426" cy="460384"/>
          </a:xfrm>
          <a:prstGeom prst="rect">
            <a:avLst/>
          </a:prstGeom>
          <a:noFill/>
          <a:ln w="9525">
            <a:noFill/>
            <a:miter lim="800000"/>
            <a:headEnd/>
            <a:tailEnd/>
          </a:ln>
        </p:spPr>
        <p:txBody>
          <a:bodyPr vert="horz" wrap="square" lIns="96723" tIns="48362" rIns="96723" bIns="48362" numCol="1" anchor="b" anchorCtr="0" compatLnSpc="1">
            <a:prstTxWarp prst="textNoShape">
              <a:avLst/>
            </a:prstTxWarp>
          </a:bodyPr>
          <a:lstStyle>
            <a:lvl1pPr algn="l" defTabSz="635000">
              <a:spcBef>
                <a:spcPct val="0"/>
              </a:spcBef>
              <a:defRPr sz="1200" b="0"/>
            </a:lvl1pPr>
          </a:lstStyle>
          <a:p>
            <a:endParaRPr lang="en-GB" dirty="0"/>
          </a:p>
        </p:txBody>
      </p:sp>
      <p:sp>
        <p:nvSpPr>
          <p:cNvPr id="7" name="Slide Number Placeholder 6"/>
          <p:cNvSpPr>
            <a:spLocks noGrp="1"/>
          </p:cNvSpPr>
          <p:nvPr>
            <p:ph type="sldNum" sz="quarter" idx="5"/>
          </p:nvPr>
        </p:nvSpPr>
        <p:spPr bwMode="auto">
          <a:xfrm>
            <a:off x="3927775" y="8770940"/>
            <a:ext cx="3004820" cy="460384"/>
          </a:xfrm>
          <a:prstGeom prst="rect">
            <a:avLst/>
          </a:prstGeom>
          <a:noFill/>
          <a:ln w="9525">
            <a:noFill/>
            <a:miter lim="800000"/>
            <a:headEnd/>
            <a:tailEnd/>
          </a:ln>
        </p:spPr>
        <p:txBody>
          <a:bodyPr vert="horz" wrap="square" lIns="96723" tIns="48362" rIns="96723" bIns="48362" numCol="1" anchor="b" anchorCtr="0" compatLnSpc="1">
            <a:prstTxWarp prst="textNoShape">
              <a:avLst/>
            </a:prstTxWarp>
          </a:bodyPr>
          <a:lstStyle>
            <a:lvl1pPr algn="r" defTabSz="635000">
              <a:spcBef>
                <a:spcPct val="0"/>
              </a:spcBef>
              <a:defRPr sz="1200" b="0"/>
            </a:lvl1pPr>
          </a:lstStyle>
          <a:p>
            <a:fld id="{F6715F80-3722-40A8-A13B-913CAEEA0A98}" type="slidenum">
              <a:rPr lang="en-GB"/>
              <a:pPr/>
              <a:t>‹#›</a:t>
            </a:fld>
            <a:endParaRPr lang="en-GB" dirty="0"/>
          </a:p>
        </p:txBody>
      </p:sp>
    </p:spTree>
    <p:extLst>
      <p:ext uri="{BB962C8B-B14F-4D97-AF65-F5344CB8AC3E}">
        <p14:creationId xmlns:p14="http://schemas.microsoft.com/office/powerpoint/2010/main" val="4145058856"/>
      </p:ext>
    </p:extLst>
  </p:cSld>
  <p:clrMap bg1="lt1" tx1="dk1" bg2="lt2" tx2="dk2" accent1="accent1" accent2="accent2" accent3="accent3" accent4="accent4" accent5="accent5" accent6="accent6" hlink="hlink" folHlink="folHlink"/>
  <p:notesStyle>
    <a:lvl1pPr algn="l" rtl="0" eaLnBrk="0" fontAlgn="base" hangingPunct="0">
      <a:spcBef>
        <a:spcPct val="100000"/>
      </a:spcBef>
      <a:spcAft>
        <a:spcPct val="0"/>
      </a:spcAft>
      <a:buFont typeface="Arial" pitchFamily="34" charset="0"/>
      <a:defRPr sz="1100" kern="1200">
        <a:solidFill>
          <a:schemeClr val="tx1"/>
        </a:solidFill>
        <a:latin typeface="Arial" pitchFamily="34" charset="0"/>
        <a:ea typeface="+mn-ea"/>
        <a:cs typeface="+mn-cs"/>
      </a:defRPr>
    </a:lvl1pPr>
    <a:lvl2pPr marL="114300" indent="-112713" algn="l" rtl="0" eaLnBrk="0" fontAlgn="base" hangingPunct="0">
      <a:spcBef>
        <a:spcPct val="20000"/>
      </a:spcBef>
      <a:spcAft>
        <a:spcPct val="0"/>
      </a:spcAft>
      <a:buChar char="•"/>
      <a:defRPr sz="1100" kern="1200">
        <a:solidFill>
          <a:schemeClr val="tx1"/>
        </a:solidFill>
        <a:latin typeface="Arial" pitchFamily="34" charset="0"/>
        <a:ea typeface="+mn-ea"/>
        <a:cs typeface="+mn-cs"/>
      </a:defRPr>
    </a:lvl2pPr>
    <a:lvl3pPr marL="227013" indent="-111125" algn="l" rtl="0" eaLnBrk="0" fontAlgn="base" hangingPunct="0">
      <a:spcBef>
        <a:spcPct val="20000"/>
      </a:spcBef>
      <a:spcAft>
        <a:spcPct val="0"/>
      </a:spcAft>
      <a:buFont typeface="Arial" pitchFamily="34" charset="0"/>
      <a:buChar char="–"/>
      <a:defRPr sz="1000" kern="1200">
        <a:solidFill>
          <a:schemeClr val="tx1"/>
        </a:solidFill>
        <a:latin typeface="Arial" pitchFamily="34" charset="0"/>
        <a:ea typeface="+mn-ea"/>
        <a:cs typeface="+mn-cs"/>
      </a:defRPr>
    </a:lvl3pPr>
    <a:lvl4pPr marL="341313" indent="-112713" algn="l" rtl="0" eaLnBrk="0" fontAlgn="base" hangingPunct="0">
      <a:spcBef>
        <a:spcPct val="20000"/>
      </a:spcBef>
      <a:spcAft>
        <a:spcPct val="0"/>
      </a:spcAft>
      <a:buChar char="•"/>
      <a:defRPr sz="1000" kern="1200">
        <a:solidFill>
          <a:schemeClr val="tx1"/>
        </a:solidFill>
        <a:latin typeface="Arial" pitchFamily="34" charset="0"/>
        <a:ea typeface="+mn-ea"/>
        <a:cs typeface="+mn-cs"/>
      </a:defRPr>
    </a:lvl4pPr>
    <a:lvl5pPr marL="454025" indent="-111125" algn="l" rtl="0" eaLnBrk="0" fontAlgn="base" hangingPunct="0">
      <a:spcBef>
        <a:spcPct val="20000"/>
      </a:spcBef>
      <a:spcAft>
        <a:spcPct val="0"/>
      </a:spcAft>
      <a:buFont typeface="Arial" pitchFamily="34" charset="0"/>
      <a:buChar char="–"/>
      <a:defRPr sz="10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1604" name="Rectangle 4"/>
          <p:cNvSpPr>
            <a:spLocks noGrp="1" noRot="1" noChangeAspect="1" noTextEdit="1"/>
          </p:cNvSpPr>
          <p:nvPr>
            <p:ph type="sldImg"/>
          </p:nvPr>
        </p:nvSpPr>
        <p:spPr bwMode="auto">
          <a:noFill/>
          <a:ln>
            <a:solidFill>
              <a:srgbClr val="000000"/>
            </a:solidFill>
            <a:miter lim="800000"/>
            <a:headEnd/>
            <a:tailEnd/>
          </a:ln>
        </p:spPr>
      </p:sp>
      <p:sp>
        <p:nvSpPr>
          <p:cNvPr id="281605" name="Rectangle 5"/>
          <p:cNvSpPr>
            <a:spLocks noGrp="1"/>
          </p:cNvSpPr>
          <p:nvPr>
            <p:ph type="body" idx="1"/>
          </p:nvPr>
        </p:nvSpPr>
        <p:spPr>
          <a:xfrm>
            <a:off x="691816" y="4386259"/>
            <a:ext cx="5550570" cy="169277"/>
          </a:xfrm>
        </p:spPr>
        <p:txBody>
          <a:bodyPr/>
          <a:lstStyle/>
          <a:p>
            <a:endParaRPr lang="en-US" dirty="0"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1" indent="-168399" eaLnBrk="1" hangingPunct="1">
              <a:buFont typeface="Arial" pitchFamily="34" charset="0"/>
              <a:buChar char="•"/>
              <a:defRPr/>
            </a:pPr>
            <a:endParaRPr lang="en-US" dirty="0" smtClean="0"/>
          </a:p>
        </p:txBody>
      </p:sp>
      <p:sp>
        <p:nvSpPr>
          <p:cNvPr id="4" name="Slide Number Placeholder 3"/>
          <p:cNvSpPr>
            <a:spLocks noGrp="1"/>
          </p:cNvSpPr>
          <p:nvPr>
            <p:ph type="sldNum" sz="quarter" idx="10"/>
          </p:nvPr>
        </p:nvSpPr>
        <p:spPr/>
        <p:txBody>
          <a:bodyPr/>
          <a:lstStyle/>
          <a:p>
            <a:pPr>
              <a:defRPr/>
            </a:pPr>
            <a:fld id="{D3D355EC-8DFC-4D50-9AEA-5024F5A3E209}" type="slidenum">
              <a:rPr lang="en-US" smtClean="0"/>
              <a:pPr>
                <a:defRPr/>
              </a:pPr>
              <a:t>9</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6715F80-3722-40A8-A13B-913CAEEA0A98}" type="slidenum">
              <a:rPr lang="en-GB" smtClean="0"/>
              <a:pPr/>
              <a:t>10</a:t>
            </a:fld>
            <a:endParaRPr lang="en-GB" dirty="0"/>
          </a:p>
        </p:txBody>
      </p:sp>
    </p:spTree>
    <p:extLst>
      <p:ext uri="{BB962C8B-B14F-4D97-AF65-F5344CB8AC3E}">
        <p14:creationId xmlns:p14="http://schemas.microsoft.com/office/powerpoint/2010/main" val="16233649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6715F80-3722-40A8-A13B-913CAEEA0A98}" type="slidenum">
              <a:rPr lang="en-GB" smtClean="0"/>
              <a:pPr/>
              <a:t>11</a:t>
            </a:fld>
            <a:endParaRPr lang="en-GB"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4" name="Rectangle 2"/>
          <p:cNvSpPr>
            <a:spLocks noGrp="1" noRot="1" noChangeAspect="1" noTextEdit="1"/>
          </p:cNvSpPr>
          <p:nvPr>
            <p:ph type="sldImg"/>
          </p:nvPr>
        </p:nvSpPr>
        <p:spPr bwMode="auto">
          <a:noFill/>
          <a:ln>
            <a:solidFill>
              <a:srgbClr val="000000"/>
            </a:solidFill>
            <a:miter lim="800000"/>
            <a:headEnd/>
            <a:tailEnd/>
          </a:ln>
        </p:spPr>
      </p:sp>
      <p:sp>
        <p:nvSpPr>
          <p:cNvPr id="284675" name="Rectangle 3"/>
          <p:cNvSpPr>
            <a:spLocks noGrp="1"/>
          </p:cNvSpPr>
          <p:nvPr>
            <p:ph type="body" idx="1"/>
          </p:nvPr>
        </p:nvSpPr>
        <p:spPr>
          <a:xfrm>
            <a:off x="691817" y="4386261"/>
            <a:ext cx="5550571" cy="169219"/>
          </a:xfrm>
        </p:spPr>
        <p:txBody>
          <a:bodyPr/>
          <a:lstStyle/>
          <a:p>
            <a:endParaRPr lang="en-US" dirty="0"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Image Placeholder 1"/>
          <p:cNvSpPr>
            <a:spLocks noGrp="1" noRot="1" noChangeAspect="1" noTextEdit="1"/>
          </p:cNvSpPr>
          <p:nvPr>
            <p:ph type="sldImg"/>
          </p:nvPr>
        </p:nvSpPr>
        <p:spPr bwMode="auto">
          <a:xfrm>
            <a:off x="1160463" y="695325"/>
            <a:ext cx="4613275" cy="3460750"/>
          </a:xfrm>
          <a:noFill/>
          <a:ln>
            <a:solidFill>
              <a:srgbClr val="000000"/>
            </a:solidFill>
            <a:miter lim="800000"/>
            <a:headEnd/>
            <a:tailEnd/>
          </a:ln>
        </p:spPr>
      </p:sp>
      <p:sp>
        <p:nvSpPr>
          <p:cNvPr id="14339" name="Notes Placeholder 2"/>
          <p:cNvSpPr>
            <a:spLocks noGrp="1"/>
          </p:cNvSpPr>
          <p:nvPr>
            <p:ph type="body" idx="1"/>
          </p:nvPr>
        </p:nvSpPr>
        <p:spPr>
          <a:xfrm>
            <a:off x="691819" y="4386264"/>
            <a:ext cx="5550571" cy="168122"/>
          </a:xfrm>
          <a:noFill/>
          <a:ln/>
        </p:spPr>
        <p:txBody>
          <a:bodyPr>
            <a:normAutofit/>
          </a:bodyPr>
          <a:lstStyle/>
          <a:p>
            <a:pPr marL="230894" indent="-230894"/>
            <a:endParaRPr lang="en-US" dirty="0" smtClean="0">
              <a:latin typeface="Arial" charset="0"/>
            </a:endParaRPr>
          </a:p>
        </p:txBody>
      </p:sp>
      <p:sp>
        <p:nvSpPr>
          <p:cNvPr id="14340" name="Slide Number Placeholder 3"/>
          <p:cNvSpPr>
            <a:spLocks noGrp="1"/>
          </p:cNvSpPr>
          <p:nvPr>
            <p:ph type="sldNum" sz="quarter" idx="5"/>
          </p:nvPr>
        </p:nvSpPr>
        <p:spPr>
          <a:noFill/>
        </p:spPr>
        <p:txBody>
          <a:bodyPr/>
          <a:lstStyle/>
          <a:p>
            <a:pPr defTabSz="639627"/>
            <a:fld id="{7C13E93D-2EA0-43CD-AFB1-9F1413484948}" type="slidenum">
              <a:rPr lang="en-GB" smtClean="0">
                <a:solidFill>
                  <a:prstClr val="black"/>
                </a:solidFill>
              </a:rPr>
              <a:pPr defTabSz="639627"/>
              <a:t>13</a:t>
            </a:fld>
            <a:endParaRPr lang="en-GB" dirty="0" smtClean="0">
              <a:solidFill>
                <a:prstClr val="black"/>
              </a:solidFill>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7"/>
          <p:cNvSpPr>
            <a:spLocks noGrp="1" noChangeArrowheads="1"/>
          </p:cNvSpPr>
          <p:nvPr>
            <p:ph type="sldNum" sz="quarter" idx="5"/>
          </p:nvPr>
        </p:nvSpPr>
        <p:spPr>
          <a:noFill/>
        </p:spPr>
        <p:txBody>
          <a:bodyPr/>
          <a:lstStyle/>
          <a:p>
            <a:pPr defTabSz="869491"/>
            <a:fld id="{D6919E8E-93A4-4FCC-93E2-466745B52876}" type="slidenum">
              <a:rPr lang="en-US" smtClean="0">
                <a:solidFill>
                  <a:srgbClr val="000000"/>
                </a:solidFill>
                <a:cs typeface="Arial" charset="0"/>
              </a:rPr>
              <a:pPr defTabSz="869491"/>
              <a:t>14</a:t>
            </a:fld>
            <a:endParaRPr lang="en-US" dirty="0" smtClean="0">
              <a:solidFill>
                <a:srgbClr val="000000"/>
              </a:solidFill>
              <a:cs typeface="Arial" charset="0"/>
            </a:endParaRPr>
          </a:p>
        </p:txBody>
      </p:sp>
      <p:sp>
        <p:nvSpPr>
          <p:cNvPr id="55299" name="Rectangle 7"/>
          <p:cNvSpPr txBox="1">
            <a:spLocks noGrp="1" noChangeArrowheads="1"/>
          </p:cNvSpPr>
          <p:nvPr/>
        </p:nvSpPr>
        <p:spPr bwMode="auto">
          <a:xfrm>
            <a:off x="3926826" y="8769795"/>
            <a:ext cx="3005779" cy="461645"/>
          </a:xfrm>
          <a:prstGeom prst="rect">
            <a:avLst/>
          </a:prstGeom>
          <a:noFill/>
          <a:ln w="9525">
            <a:noFill/>
            <a:miter lim="800000"/>
            <a:headEnd/>
            <a:tailEnd/>
          </a:ln>
        </p:spPr>
        <p:txBody>
          <a:bodyPr lIns="88535" tIns="44266" rIns="88535" bIns="44266" anchor="b"/>
          <a:lstStyle/>
          <a:p>
            <a:pPr algn="r" defTabSz="883125"/>
            <a:fld id="{EBD2A293-09C8-4239-852B-F515F77BAD92}" type="slidenum">
              <a:rPr lang="en-US" sz="900"/>
              <a:pPr algn="r" defTabSz="883125"/>
              <a:t>14</a:t>
            </a:fld>
            <a:endParaRPr lang="en-US" sz="900" dirty="0"/>
          </a:p>
        </p:txBody>
      </p:sp>
      <p:sp>
        <p:nvSpPr>
          <p:cNvPr id="55300"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55301" name="Rectangle 3"/>
          <p:cNvSpPr>
            <a:spLocks noGrp="1" noChangeArrowheads="1"/>
          </p:cNvSpPr>
          <p:nvPr>
            <p:ph type="body" idx="1"/>
          </p:nvPr>
        </p:nvSpPr>
        <p:spPr>
          <a:xfrm>
            <a:off x="336814" y="4385629"/>
            <a:ext cx="6260574" cy="267345"/>
          </a:xfrm>
          <a:noFill/>
          <a:ln/>
        </p:spPr>
        <p:txBody>
          <a:bodyPr lIns="43541" tIns="43541" rIns="43541" bIns="43541"/>
          <a:lstStyle/>
          <a:p>
            <a:pPr defTabSz="871006" eaLnBrk="1" hangingPunct="1">
              <a:spcBef>
                <a:spcPct val="0"/>
              </a:spcBef>
            </a:pPr>
            <a:endParaRPr lang="en-US" dirty="0"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p:cNvSpPr>
            <a:spLocks noGrp="1" noRot="1" noChangeAspect="1" noTextEdit="1"/>
          </p:cNvSpPr>
          <p:nvPr>
            <p:ph type="sldImg"/>
          </p:nvPr>
        </p:nvSpPr>
        <p:spPr>
          <a:ln/>
        </p:spPr>
      </p:sp>
      <p:sp>
        <p:nvSpPr>
          <p:cNvPr id="37891" name="Notes Placeholder 2"/>
          <p:cNvSpPr>
            <a:spLocks noGrp="1"/>
          </p:cNvSpPr>
          <p:nvPr>
            <p:ph type="body" idx="1"/>
          </p:nvPr>
        </p:nvSpPr>
        <p:spPr>
          <a:xfrm>
            <a:off x="691816" y="4386259"/>
            <a:ext cx="5550570" cy="169277"/>
          </a:xfrm>
          <a:noFill/>
          <a:ln/>
        </p:spPr>
        <p:txBody>
          <a:bodyPr/>
          <a:lstStyle/>
          <a:p>
            <a:endParaRPr lang="en-US" dirty="0" smtClean="0">
              <a:latin typeface="Arial" charset="0"/>
            </a:endParaRPr>
          </a:p>
        </p:txBody>
      </p:sp>
      <p:sp>
        <p:nvSpPr>
          <p:cNvPr id="37892" name="Slide Number Placeholder 3"/>
          <p:cNvSpPr>
            <a:spLocks noGrp="1"/>
          </p:cNvSpPr>
          <p:nvPr>
            <p:ph type="sldNum" sz="quarter" idx="5"/>
          </p:nvPr>
        </p:nvSpPr>
        <p:spPr>
          <a:noFill/>
        </p:spPr>
        <p:txBody>
          <a:bodyPr/>
          <a:lstStyle/>
          <a:p>
            <a:pPr defTabSz="908502"/>
            <a:fld id="{32106F2C-2E01-4604-A4D1-A022926A4A04}" type="slidenum">
              <a:rPr lang="en-US" smtClean="0">
                <a:latin typeface="Arial" charset="0"/>
              </a:rPr>
              <a:pPr defTabSz="908502"/>
              <a:t>15</a:t>
            </a:fld>
            <a:endParaRPr lang="en-US" dirty="0" smtClean="0">
              <a:latin typeface="Arial"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6715F80-3722-40A8-A13B-913CAEEA0A98}" type="slidenum">
              <a:rPr lang="en-GB" smtClean="0"/>
              <a:pPr/>
              <a:t>16</a:t>
            </a:fld>
            <a:endParaRPr lang="en-GB" dirty="0"/>
          </a:p>
        </p:txBody>
      </p:sp>
    </p:spTree>
    <p:extLst>
      <p:ext uri="{BB962C8B-B14F-4D97-AF65-F5344CB8AC3E}">
        <p14:creationId xmlns:p14="http://schemas.microsoft.com/office/powerpoint/2010/main" val="16014314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6715F80-3722-40A8-A13B-913CAEEA0A98}" type="slidenum">
              <a:rPr lang="en-GB" smtClean="0"/>
              <a:pPr/>
              <a:t>17</a:t>
            </a:fld>
            <a:endParaRPr lang="en-GB" dirty="0"/>
          </a:p>
        </p:txBody>
      </p:sp>
    </p:spTree>
    <p:extLst>
      <p:ext uri="{BB962C8B-B14F-4D97-AF65-F5344CB8AC3E}">
        <p14:creationId xmlns:p14="http://schemas.microsoft.com/office/powerpoint/2010/main" val="27450334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6715F80-3722-40A8-A13B-913CAEEA0A98}" type="slidenum">
              <a:rPr lang="en-GB" smtClean="0"/>
              <a:pPr/>
              <a:t>18</a:t>
            </a:fld>
            <a:endParaRPr lang="en-GB" dirty="0"/>
          </a:p>
        </p:txBody>
      </p:sp>
    </p:spTree>
    <p:extLst>
      <p:ext uri="{BB962C8B-B14F-4D97-AF65-F5344CB8AC3E}">
        <p14:creationId xmlns:p14="http://schemas.microsoft.com/office/powerpoint/2010/main" val="39828755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3650" name="Rectangle 2"/>
          <p:cNvSpPr>
            <a:spLocks noGrp="1" noRot="1" noChangeAspect="1" noTextEdit="1"/>
          </p:cNvSpPr>
          <p:nvPr>
            <p:ph type="sldImg"/>
          </p:nvPr>
        </p:nvSpPr>
        <p:spPr bwMode="auto">
          <a:noFill/>
          <a:ln>
            <a:solidFill>
              <a:srgbClr val="000000"/>
            </a:solidFill>
            <a:miter lim="800000"/>
            <a:headEnd/>
            <a:tailEnd/>
          </a:ln>
        </p:spPr>
      </p:sp>
      <p:sp>
        <p:nvSpPr>
          <p:cNvPr id="283651" name="Rectangle 3"/>
          <p:cNvSpPr>
            <a:spLocks noGrp="1"/>
          </p:cNvSpPr>
          <p:nvPr>
            <p:ph type="body" idx="1"/>
          </p:nvPr>
        </p:nvSpPr>
        <p:spPr>
          <a:xfrm>
            <a:off x="691816" y="4386259"/>
            <a:ext cx="5550570" cy="169277"/>
          </a:xfrm>
        </p:spPr>
        <p:txBody>
          <a:bodyPr/>
          <a:lstStyle/>
          <a:p>
            <a:endParaRPr lang="en-US" dirty="0"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6715F80-3722-40A8-A13B-913CAEEA0A98}" type="slidenum">
              <a:rPr lang="en-GB" smtClean="0"/>
              <a:pPr/>
              <a:t>19</a:t>
            </a:fld>
            <a:endParaRPr lang="en-GB" dirty="0"/>
          </a:p>
        </p:txBody>
      </p:sp>
    </p:spTree>
    <p:extLst>
      <p:ext uri="{BB962C8B-B14F-4D97-AF65-F5344CB8AC3E}">
        <p14:creationId xmlns:p14="http://schemas.microsoft.com/office/powerpoint/2010/main" val="28972522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0419" name="Rectangle 3"/>
          <p:cNvSpPr>
            <a:spLocks noGrp="1"/>
          </p:cNvSpPr>
          <p:nvPr>
            <p:ph type="body" idx="1"/>
          </p:nvPr>
        </p:nvSpPr>
        <p:spPr>
          <a:xfrm>
            <a:off x="691186" y="4385628"/>
            <a:ext cx="5551830" cy="16927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6715F80-3722-40A8-A13B-913CAEEA0A98}" type="slidenum">
              <a:rPr lang="en-GB" smtClean="0"/>
              <a:pPr/>
              <a:t>21</a:t>
            </a:fld>
            <a:endParaRPr lang="en-GB" dirty="0"/>
          </a:p>
        </p:txBody>
      </p:sp>
    </p:spTree>
    <p:extLst>
      <p:ext uri="{BB962C8B-B14F-4D97-AF65-F5344CB8AC3E}">
        <p14:creationId xmlns:p14="http://schemas.microsoft.com/office/powerpoint/2010/main" val="16165604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6715F80-3722-40A8-A13B-913CAEEA0A98}" type="slidenum">
              <a:rPr lang="en-GB" smtClean="0"/>
              <a:pPr/>
              <a:t>22</a:t>
            </a:fld>
            <a:endParaRPr lang="en-GB"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6715F80-3722-40A8-A13B-913CAEEA0A98}" type="slidenum">
              <a:rPr lang="en-GB" smtClean="0"/>
              <a:pPr/>
              <a:t>23</a:t>
            </a:fld>
            <a:endParaRPr lang="en-GB" dirty="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6715F80-3722-40A8-A13B-913CAEEA0A98}" type="slidenum">
              <a:rPr lang="en-GB" smtClean="0"/>
              <a:pPr/>
              <a:t>24</a:t>
            </a:fld>
            <a:endParaRPr lang="en-GB" dirty="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7"/>
          <p:cNvSpPr txBox="1">
            <a:spLocks noGrp="1" noChangeArrowheads="1"/>
          </p:cNvSpPr>
          <p:nvPr/>
        </p:nvSpPr>
        <p:spPr bwMode="auto">
          <a:xfrm>
            <a:off x="362762" y="8884262"/>
            <a:ext cx="169918" cy="184666"/>
          </a:xfrm>
          <a:prstGeom prst="rect">
            <a:avLst/>
          </a:prstGeom>
          <a:noFill/>
          <a:ln w="9525">
            <a:noFill/>
            <a:miter lim="800000"/>
            <a:headEnd/>
            <a:tailEnd/>
          </a:ln>
        </p:spPr>
        <p:txBody>
          <a:bodyPr wrap="none" lIns="0" tIns="0" rIns="0" bIns="0" anchor="b">
            <a:spAutoFit/>
          </a:bodyPr>
          <a:lstStyle/>
          <a:p>
            <a:pPr algn="l" defTabSz="635000">
              <a:spcBef>
                <a:spcPct val="0"/>
              </a:spcBef>
            </a:pPr>
            <a:fld id="{C48ED56A-DF9C-45A7-8469-0591366F9524}" type="slidenum">
              <a:rPr lang="en-GB" sz="1200" b="0"/>
              <a:pPr algn="l" defTabSz="635000">
                <a:spcBef>
                  <a:spcPct val="0"/>
                </a:spcBef>
              </a:pPr>
              <a:t>25</a:t>
            </a:fld>
            <a:endParaRPr lang="en-GB" sz="1200" b="0" dirty="0"/>
          </a:p>
        </p:txBody>
      </p:sp>
      <p:sp>
        <p:nvSpPr>
          <p:cNvPr id="66565" name="Rectangle 5"/>
          <p:cNvSpPr>
            <a:spLocks noGrp="1" noRot="1" noChangeAspect="1" noTextEdit="1"/>
          </p:cNvSpPr>
          <p:nvPr>
            <p:ph type="sldImg"/>
          </p:nvPr>
        </p:nvSpPr>
        <p:spPr bwMode="auto">
          <a:noFill/>
          <a:ln>
            <a:solidFill>
              <a:srgbClr val="000000"/>
            </a:solidFill>
            <a:miter lim="800000"/>
            <a:headEnd/>
            <a:tailEnd/>
          </a:ln>
        </p:spPr>
      </p:sp>
      <p:sp>
        <p:nvSpPr>
          <p:cNvPr id="66566" name="Rectangle 6"/>
          <p:cNvSpPr>
            <a:spLocks noGrp="1"/>
          </p:cNvSpPr>
          <p:nvPr>
            <p:ph type="body" idx="1"/>
          </p:nvPr>
        </p:nvSpPr>
        <p:spPr>
          <a:xfrm>
            <a:off x="691816" y="4386259"/>
            <a:ext cx="5550570" cy="169277"/>
          </a:xfrm>
        </p:spPr>
        <p:txBody>
          <a:bodyPr/>
          <a:lstStyle/>
          <a:p>
            <a:endParaRPr lang="en-US"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6715F80-3722-40A8-A13B-913CAEEA0A98}" type="slidenum">
              <a:rPr lang="en-GB" smtClean="0"/>
              <a:pPr/>
              <a:t>2</a:t>
            </a:fld>
            <a:endParaRPr lang="en-GB"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700" dirty="0"/>
          </a:p>
          <a:p>
            <a:pPr lvl="1">
              <a:buFont typeface="Arial" pitchFamily="34" charset="0"/>
              <a:buNone/>
              <a:defRPr/>
            </a:pPr>
            <a:endParaRPr lang="en-US" sz="1900" dirty="0">
              <a:cs typeface="Arial" pitchFamily="34" charset="0"/>
            </a:endParaRPr>
          </a:p>
        </p:txBody>
      </p:sp>
      <p:sp>
        <p:nvSpPr>
          <p:cNvPr id="4" name="Slide Number Placeholder 3"/>
          <p:cNvSpPr>
            <a:spLocks noGrp="1"/>
          </p:cNvSpPr>
          <p:nvPr>
            <p:ph type="sldNum" sz="quarter" idx="10"/>
          </p:nvPr>
        </p:nvSpPr>
        <p:spPr/>
        <p:txBody>
          <a:bodyPr/>
          <a:lstStyle/>
          <a:p>
            <a:pPr>
              <a:defRPr/>
            </a:pPr>
            <a:fld id="{D3D355EC-8DFC-4D50-9AEA-5024F5A3E209}" type="slidenum">
              <a:rPr lang="en-US" smtClean="0"/>
              <a:pPr>
                <a:defRPr/>
              </a:pPr>
              <a:t>3</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1">
              <a:buFont typeface="Arial" pitchFamily="34" charset="0"/>
              <a:buNone/>
              <a:defRPr/>
            </a:pPr>
            <a:endParaRPr lang="en-US" sz="1900" dirty="0">
              <a:cs typeface="Arial" pitchFamily="34" charset="0"/>
            </a:endParaRPr>
          </a:p>
        </p:txBody>
      </p:sp>
      <p:sp>
        <p:nvSpPr>
          <p:cNvPr id="4" name="Slide Number Placeholder 3"/>
          <p:cNvSpPr>
            <a:spLocks noGrp="1"/>
          </p:cNvSpPr>
          <p:nvPr>
            <p:ph type="sldNum" sz="quarter" idx="10"/>
          </p:nvPr>
        </p:nvSpPr>
        <p:spPr/>
        <p:txBody>
          <a:bodyPr/>
          <a:lstStyle/>
          <a:p>
            <a:pPr>
              <a:defRPr/>
            </a:pPr>
            <a:fld id="{D3D355EC-8DFC-4D50-9AEA-5024F5A3E209}" type="slidenum">
              <a:rPr lang="en-US" smtClean="0">
                <a:solidFill>
                  <a:prstClr val="black"/>
                </a:solidFill>
              </a:rPr>
              <a:pPr>
                <a:defRPr/>
              </a:pPr>
              <a:t>4</a:t>
            </a:fld>
            <a:endParaRPr lang="en-US" dirty="0">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1">
              <a:buFont typeface="Arial" pitchFamily="34" charset="0"/>
              <a:buNone/>
              <a:defRPr/>
            </a:pPr>
            <a:endParaRPr lang="en-US" sz="1900" dirty="0">
              <a:cs typeface="Arial" pitchFamily="34" charset="0"/>
            </a:endParaRPr>
          </a:p>
        </p:txBody>
      </p:sp>
      <p:sp>
        <p:nvSpPr>
          <p:cNvPr id="4" name="Slide Number Placeholder 3"/>
          <p:cNvSpPr>
            <a:spLocks noGrp="1"/>
          </p:cNvSpPr>
          <p:nvPr>
            <p:ph type="sldNum" sz="quarter" idx="10"/>
          </p:nvPr>
        </p:nvSpPr>
        <p:spPr/>
        <p:txBody>
          <a:bodyPr/>
          <a:lstStyle/>
          <a:p>
            <a:pPr>
              <a:defRPr/>
            </a:pPr>
            <a:fld id="{D3D355EC-8DFC-4D50-9AEA-5024F5A3E209}" type="slidenum">
              <a:rPr lang="en-US" smtClean="0">
                <a:solidFill>
                  <a:prstClr val="black"/>
                </a:solidFill>
              </a:rPr>
              <a:pPr>
                <a:defRPr/>
              </a:pPr>
              <a:t>5</a:t>
            </a:fld>
            <a:endParaRPr lang="en-US" dirty="0">
              <a:solidFill>
                <a:prstClr val="black"/>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7"/>
          <p:cNvSpPr txBox="1">
            <a:spLocks noGrp="1" noChangeArrowheads="1"/>
          </p:cNvSpPr>
          <p:nvPr/>
        </p:nvSpPr>
        <p:spPr bwMode="auto">
          <a:xfrm>
            <a:off x="3928424" y="8769795"/>
            <a:ext cx="3004182" cy="461645"/>
          </a:xfrm>
          <a:prstGeom prst="rect">
            <a:avLst/>
          </a:prstGeom>
          <a:noFill/>
          <a:ln w="9525">
            <a:noFill/>
            <a:miter lim="800000"/>
            <a:headEnd/>
            <a:tailEnd/>
          </a:ln>
        </p:spPr>
        <p:txBody>
          <a:bodyPr lIns="92223" tIns="46111" rIns="92223" bIns="46111" anchor="b"/>
          <a:lstStyle/>
          <a:p>
            <a:pPr algn="r" defTabSz="920152"/>
            <a:fld id="{69BF9301-9FBA-43E7-87AA-540D2B434F00}" type="slidenum">
              <a:rPr lang="en-US"/>
              <a:pPr algn="r" defTabSz="920152"/>
              <a:t>6</a:t>
            </a:fld>
            <a:endParaRPr lang="en-US" dirty="0"/>
          </a:p>
        </p:txBody>
      </p:sp>
      <p:sp>
        <p:nvSpPr>
          <p:cNvPr id="41987"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41988" name="Rectangle 3"/>
          <p:cNvSpPr>
            <a:spLocks noGrp="1" noChangeArrowheads="1"/>
          </p:cNvSpPr>
          <p:nvPr>
            <p:ph type="body" idx="1"/>
          </p:nvPr>
        </p:nvSpPr>
        <p:spPr>
          <a:xfrm>
            <a:off x="691816" y="4386259"/>
            <a:ext cx="5550570" cy="262400"/>
          </a:xfrm>
          <a:noFill/>
          <a:ln/>
        </p:spPr>
        <p:txBody>
          <a:bodyPr lIns="92223" tIns="46111" rIns="92223" bIns="46111"/>
          <a:lstStyle/>
          <a:p>
            <a:pPr eaLnBrk="1" hangingPunct="1"/>
            <a:endParaRPr lang="en-US" dirty="0"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6715F80-3722-40A8-A13B-913CAEEA0A98}" type="slidenum">
              <a:rPr lang="en-GB" smtClean="0"/>
              <a:pPr/>
              <a:t>7</a:t>
            </a:fld>
            <a:endParaRPr lang="en-GB" dirty="0"/>
          </a:p>
        </p:txBody>
      </p:sp>
    </p:spTree>
    <p:extLst>
      <p:ext uri="{BB962C8B-B14F-4D97-AF65-F5344CB8AC3E}">
        <p14:creationId xmlns:p14="http://schemas.microsoft.com/office/powerpoint/2010/main" val="6800050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6715F80-3722-40A8-A13B-913CAEEA0A98}" type="slidenum">
              <a:rPr lang="en-GB" smtClean="0"/>
              <a:pPr/>
              <a:t>8</a:t>
            </a:fld>
            <a:endParaRPr lang="en-GB" dirty="0"/>
          </a:p>
        </p:txBody>
      </p:sp>
    </p:spTree>
    <p:extLst>
      <p:ext uri="{BB962C8B-B14F-4D97-AF65-F5344CB8AC3E}">
        <p14:creationId xmlns:p14="http://schemas.microsoft.com/office/powerpoint/2010/main" val="98541725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slideMaster" Target="../slideMasters/slideMaster2.xml"/><Relationship Id="rId2" Type="http://schemas.openxmlformats.org/officeDocument/2006/relationships/tags" Target="../tags/tag1.xml"/><Relationship Id="rId16" Type="http://schemas.openxmlformats.org/officeDocument/2006/relationships/tags" Target="../tags/tag15.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tags" Target="../tags/tag14.xml"/><Relationship Id="rId10" Type="http://schemas.openxmlformats.org/officeDocument/2006/relationships/tags" Target="../tags/tag9.xml"/><Relationship Id="rId19" Type="http://schemas.openxmlformats.org/officeDocument/2006/relationships/image" Target="../media/image3.jpeg"/><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oleObject" Target="../embeddings/oleObject2.bin"/><Relationship Id="rId2" Type="http://schemas.openxmlformats.org/officeDocument/2006/relationships/tags" Target="../tags/tag16.xml"/><Relationship Id="rId1" Type="http://schemas.openxmlformats.org/officeDocument/2006/relationships/vmlDrawing" Target="../drawings/vmlDrawing2.vml"/><Relationship Id="rId6" Type="http://schemas.openxmlformats.org/officeDocument/2006/relationships/slideMaster" Target="../slideMasters/slideMaster2.xml"/><Relationship Id="rId5" Type="http://schemas.openxmlformats.org/officeDocument/2006/relationships/tags" Target="../tags/tag19.xml"/><Relationship Id="rId4" Type="http://schemas.openxmlformats.org/officeDocument/2006/relationships/tags" Target="../tags/tag18.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oleObject" Target="../embeddings/oleObject3.bin"/><Relationship Id="rId2" Type="http://schemas.openxmlformats.org/officeDocument/2006/relationships/tags" Target="../tags/tag20.xml"/><Relationship Id="rId1" Type="http://schemas.openxmlformats.org/officeDocument/2006/relationships/vmlDrawing" Target="../drawings/vmlDrawing3.vml"/><Relationship Id="rId6" Type="http://schemas.openxmlformats.org/officeDocument/2006/relationships/slideMaster" Target="../slideMasters/slideMaster2.xml"/><Relationship Id="rId5" Type="http://schemas.openxmlformats.org/officeDocument/2006/relationships/tags" Target="../tags/tag23.xml"/><Relationship Id="rId4" Type="http://schemas.openxmlformats.org/officeDocument/2006/relationships/tags" Target="../tags/tag22.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oleObject" Target="../embeddings/oleObject4.bin"/><Relationship Id="rId2" Type="http://schemas.openxmlformats.org/officeDocument/2006/relationships/tags" Target="../tags/tag24.xml"/><Relationship Id="rId1" Type="http://schemas.openxmlformats.org/officeDocument/2006/relationships/vmlDrawing" Target="../drawings/vmlDrawing4.vml"/><Relationship Id="rId6" Type="http://schemas.openxmlformats.org/officeDocument/2006/relationships/slideMaster" Target="../slideMasters/slideMaster2.xml"/><Relationship Id="rId5" Type="http://schemas.openxmlformats.org/officeDocument/2006/relationships/tags" Target="../tags/tag27.xml"/><Relationship Id="rId4" Type="http://schemas.openxmlformats.org/officeDocument/2006/relationships/tags" Target="../tags/tag26.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vmlDrawing" Target="../drawings/vmlDrawing5.vml"/><Relationship Id="rId1" Type="http://schemas.openxmlformats.org/officeDocument/2006/relationships/themeOverride" Target="../theme/themeOverride1.xml"/><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gray">
          <a:xfrm>
            <a:off x="1142999" y="2538374"/>
            <a:ext cx="4690872" cy="835761"/>
          </a:xfrm>
          <a:prstGeom prst="rect">
            <a:avLst/>
          </a:prstGeom>
        </p:spPr>
        <p:txBody>
          <a:bodyPr anchor="b" anchorCtr="0">
            <a:spAutoFit/>
          </a:bodyPr>
          <a:lstStyle>
            <a:lvl1pPr>
              <a:lnSpc>
                <a:spcPct val="85000"/>
              </a:lnSpc>
              <a:defRPr sz="3200" b="0" smtClean="0">
                <a:latin typeface="Times New Roman" pitchFamily="18" charset="0"/>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gray">
          <a:xfrm>
            <a:off x="1142999" y="3689350"/>
            <a:ext cx="4690872" cy="319380"/>
          </a:xfrm>
          <a:prstGeom prst="rect">
            <a:avLst/>
          </a:prstGeom>
        </p:spPr>
        <p:txBody>
          <a:bodyPr>
            <a:spAutoFit/>
          </a:bodyPr>
          <a:lstStyle>
            <a:lvl1pPr>
              <a:lnSpc>
                <a:spcPct val="100000"/>
              </a:lnSpc>
              <a:defRPr sz="2000" b="1" smtClean="0">
                <a:latin typeface="Arial" pitchFamily="34" charset="0"/>
              </a:defRPr>
            </a:lvl1pPr>
          </a:lstStyle>
          <a:p>
            <a:r>
              <a:rPr lang="en-US" smtClean="0"/>
              <a:t>Click to edit Master subtitle style</a:t>
            </a:r>
            <a:endParaRPr smtClean="0"/>
          </a:p>
        </p:txBody>
      </p:sp>
      <p:pic>
        <p:nvPicPr>
          <p:cNvPr id="120844" name="Picture 12" descr="DEL_DCS_PRI_RGB"/>
          <p:cNvPicPr>
            <a:picLocks noChangeAspect="1" noChangeArrowheads="1"/>
          </p:cNvPicPr>
          <p:nvPr userDrawn="1"/>
        </p:nvPicPr>
        <p:blipFill>
          <a:blip r:embed="rId2" cstate="print"/>
          <a:srcRect/>
          <a:stretch>
            <a:fillRect/>
          </a:stretch>
        </p:blipFill>
        <p:spPr bwMode="gray">
          <a:xfrm>
            <a:off x="404813" y="303213"/>
            <a:ext cx="1636712" cy="307975"/>
          </a:xfrm>
          <a:prstGeom prst="rect">
            <a:avLst/>
          </a:prstGeom>
          <a:noFill/>
        </p:spPr>
      </p:pic>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0"/>
          <p:cNvSpPr>
            <a:spLocks noGrp="1"/>
          </p:cNvSpPr>
          <p:nvPr>
            <p:ph type="title"/>
          </p:nvPr>
        </p:nvSpPr>
        <p:spPr bwMode="gray">
          <a:xfrm>
            <a:off x="414338" y="450279"/>
            <a:ext cx="8330184" cy="329184"/>
          </a:xfrm>
          <a:prstGeom prst="rect">
            <a:avLst/>
          </a:prstGeom>
        </p:spPr>
        <p:txBody>
          <a:bodyPr lIns="0" tIns="0" rIns="0" bIns="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5" name="Picture 19" descr="DEL_PRI_RGB"/>
          <p:cNvPicPr>
            <a:picLocks noChangeAspect="1" noChangeArrowheads="1"/>
          </p:cNvPicPr>
          <p:nvPr userDrawn="1"/>
        </p:nvPicPr>
        <p:blipFill>
          <a:blip r:embed="rId2" cstate="print"/>
          <a:srcRect l="11237" t="27428" r="9845" b="25551"/>
          <a:stretch>
            <a:fillRect/>
          </a:stretch>
        </p:blipFill>
        <p:spPr bwMode="gray">
          <a:xfrm>
            <a:off x="2844800" y="3032125"/>
            <a:ext cx="3451225" cy="790575"/>
          </a:xfrm>
          <a:prstGeom prst="rect">
            <a:avLst/>
          </a:prstGeom>
          <a:noFill/>
          <a:ln w="9525">
            <a:noFill/>
            <a:miter lim="800000"/>
            <a:headEnd/>
            <a:tailEnd/>
          </a:ln>
        </p:spPr>
      </p:pic>
      <p:sp>
        <p:nvSpPr>
          <p:cNvPr id="3" name="Text Placeholder 5"/>
          <p:cNvSpPr>
            <a:spLocks noGrp="1"/>
          </p:cNvSpPr>
          <p:nvPr>
            <p:ph type="body" sz="quarter" idx="10"/>
          </p:nvPr>
        </p:nvSpPr>
        <p:spPr bwMode="gray">
          <a:xfrm>
            <a:off x="402336" y="5458968"/>
            <a:ext cx="4937760" cy="1152144"/>
          </a:xfrm>
        </p:spPr>
        <p:txBody>
          <a:bodyPr anchor="b" anchorCtr="0">
            <a:noAutofit/>
          </a:bodyPr>
          <a:lstStyle>
            <a:lvl1pPr>
              <a:lnSpc>
                <a:spcPts val="800"/>
              </a:lnSpc>
              <a:spcBef>
                <a:spcPts val="400"/>
              </a:spcBef>
              <a:spcAft>
                <a:spcPts val="400"/>
              </a:spcAft>
              <a:defRPr sz="700"/>
            </a:lvl1pPr>
          </a:lstStyle>
          <a:p>
            <a:pPr lvl="0"/>
            <a:r>
              <a:rPr lang="en-US" smtClean="0"/>
              <a:t>Click to edit Master text styles</a:t>
            </a:r>
          </a:p>
        </p:txBody>
      </p:sp>
    </p:spTree>
  </p:cSld>
  <p:clrMapOvr>
    <a:masterClrMapping/>
  </p:clrMapOvr>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5_Divider 2">
    <p:bg>
      <p:bgPr>
        <a:solidFill>
          <a:srgbClr val="00B0F0"/>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hasCustomPrompt="1"/>
          </p:nvPr>
        </p:nvSpPr>
        <p:spPr bwMode="auto">
          <a:xfrm>
            <a:off x="411480" y="2824696"/>
            <a:ext cx="8149908" cy="680186"/>
          </a:xfrm>
          <a:prstGeom prst="rect">
            <a:avLst/>
          </a:prstGeom>
        </p:spPr>
        <p:txBody>
          <a:bodyPr anchor="b" anchorCtr="0">
            <a:spAutoFit/>
          </a:bodyPr>
          <a:lstStyle>
            <a:lvl1pPr>
              <a:lnSpc>
                <a:spcPct val="85000"/>
              </a:lnSpc>
              <a:defRPr sz="5200" b="0" baseline="0" smtClean="0">
                <a:solidFill>
                  <a:schemeClr val="bg1"/>
                </a:solidFill>
                <a:latin typeface="Times New Roman" pitchFamily="18" charset="0"/>
                <a:cs typeface="Times New Roman" pitchFamily="18" charset="0"/>
              </a:defRPr>
            </a:lvl1pPr>
          </a:lstStyle>
          <a:p>
            <a:r>
              <a:rPr lang="en-US" dirty="0" smtClean="0"/>
              <a:t>Divider slide</a:t>
            </a:r>
          </a:p>
        </p:txBody>
      </p:sp>
    </p:spTree>
    <p:extLst>
      <p:ext uri="{BB962C8B-B14F-4D97-AF65-F5344CB8AC3E}">
        <p14:creationId xmlns:p14="http://schemas.microsoft.com/office/powerpoint/2010/main" val="3409446687"/>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pic>
        <p:nvPicPr>
          <p:cNvPr id="4" name="Picture 12" descr="DEL_DCS_PRI_RGB"/>
          <p:cNvPicPr>
            <a:picLocks noChangeAspect="1" noChangeArrowheads="1"/>
          </p:cNvPicPr>
          <p:nvPr userDrawn="1"/>
        </p:nvPicPr>
        <p:blipFill>
          <a:blip r:embed="rId2" cstate="print"/>
          <a:srcRect/>
          <a:stretch>
            <a:fillRect/>
          </a:stretch>
        </p:blipFill>
        <p:spPr bwMode="gray">
          <a:xfrm>
            <a:off x="404813" y="303213"/>
            <a:ext cx="1636712" cy="307975"/>
          </a:xfrm>
          <a:prstGeom prst="rect">
            <a:avLst/>
          </a:prstGeom>
          <a:noFill/>
          <a:ln w="9525">
            <a:noFill/>
            <a:miter lim="800000"/>
            <a:headEnd/>
            <a:tailEnd/>
          </a:ln>
        </p:spPr>
      </p:pic>
      <p:sp>
        <p:nvSpPr>
          <p:cNvPr id="120835" name="Title Placeholder 1"/>
          <p:cNvSpPr>
            <a:spLocks noGrp="1"/>
          </p:cNvSpPr>
          <p:nvPr>
            <p:ph type="ctrTitle"/>
          </p:nvPr>
        </p:nvSpPr>
        <p:spPr bwMode="gray">
          <a:xfrm>
            <a:off x="1143000" y="1848693"/>
            <a:ext cx="6299791" cy="313932"/>
          </a:xfrm>
          <a:prstGeom prst="rect">
            <a:avLst/>
          </a:prstGeom>
        </p:spPr>
        <p:txBody>
          <a:bodyPr/>
          <a:lstStyle>
            <a:lvl1pPr>
              <a:lnSpc>
                <a:spcPct val="85000"/>
              </a:lnSpc>
              <a:defRPr sz="2400" b="0" smtClean="0">
                <a:latin typeface="Times New Roman" pitchFamily="18" charset="0"/>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gray">
          <a:xfrm>
            <a:off x="1143000" y="2466555"/>
            <a:ext cx="6299791" cy="1538883"/>
          </a:xfrm>
          <a:prstGeom prst="rect">
            <a:avLst/>
          </a:prstGeom>
        </p:spPr>
        <p:txBody>
          <a:bodyPr/>
          <a:lstStyle>
            <a:lvl1pPr>
              <a:lnSpc>
                <a:spcPct val="100000"/>
              </a:lnSpc>
              <a:spcBef>
                <a:spcPts val="0"/>
              </a:spcBef>
              <a:defRPr sz="5000" b="1" baseline="0" smtClean="0">
                <a:latin typeface="Arial" pitchFamily="34" charset="0"/>
              </a:defRPr>
            </a:lvl1pPr>
          </a:lstStyle>
          <a:p>
            <a:r>
              <a:rPr lang="en-US" smtClean="0"/>
              <a:t>Click to edit Master subtitle style</a:t>
            </a:r>
            <a:endParaRPr dirty="0" smtClean="0"/>
          </a:p>
        </p:txBody>
      </p:sp>
    </p:spTree>
    <p:extLst>
      <p:ext uri="{BB962C8B-B14F-4D97-AF65-F5344CB8AC3E}">
        <p14:creationId xmlns:p14="http://schemas.microsoft.com/office/powerpoint/2010/main" val="4034954371"/>
      </p:ext>
    </p:extLst>
  </p:cSld>
  <p:clrMapOvr>
    <a:masterClrMapping/>
  </p:clrMapOvr>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4887468"/>
          </a:xfrm>
          <a:prstGeom prst="rect">
            <a:avLst/>
          </a:prstGeom>
        </p:spPr>
        <p:txBody>
          <a:bodyPr rtlCol="0">
            <a:noAutofit/>
          </a:bodyPr>
          <a:lstStyle>
            <a:lvl1pPr marL="0" marR="0" indent="0" algn="l" defTabSz="914400" rtl="0" eaLnBrk="1" fontAlgn="base" latinLnBrk="0" hangingPunct="1">
              <a:lnSpc>
                <a:spcPct val="100000"/>
              </a:lnSpc>
              <a:spcBef>
                <a:spcPts val="0"/>
              </a:spcBef>
              <a:spcAft>
                <a:spcPts val="600"/>
              </a:spcAft>
              <a:buClrTx/>
              <a:buSzTx/>
              <a:buFont typeface="Arial" pitchFamily="34" charset="0"/>
              <a:buNone/>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1pPr>
            <a:lvl2pPr marL="233363" marR="0" indent="-231775" algn="l" defTabSz="914400" rtl="0" eaLnBrk="1" fontAlgn="base" latinLnBrk="0" hangingPunct="1">
              <a:lnSpc>
                <a:spcPct val="100000"/>
              </a:lnSpc>
              <a:spcBef>
                <a:spcPts val="0"/>
              </a:spcBef>
              <a:spcAft>
                <a:spcPts val="600"/>
              </a:spcAft>
              <a:buFont typeface="Arial" pitchFamily="34" charset="0"/>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2pPr>
            <a:lvl3pPr marL="574675" marR="0" indent="-234950" algn="l" defTabSz="914400" rtl="0" eaLnBrk="1" fontAlgn="base" latinLnBrk="0" hangingPunct="1">
              <a:lnSpc>
                <a:spcPct val="100000"/>
              </a:lnSpc>
              <a:spcBef>
                <a:spcPts val="0"/>
              </a:spcBef>
              <a:spcAft>
                <a:spcPts val="600"/>
              </a:spcAft>
              <a:buFont typeface="Arial" pitchFamily="34" charset="0"/>
              <a:tabLst/>
              <a:defRPr kumimoji="0" lang="en-US" sz="22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L="914400" marR="0" indent="-223838" algn="l" defTabSz="914400" rtl="0" eaLnBrk="1" fontAlgn="base" latinLnBrk="0" hangingPunct="1">
              <a:lnSpc>
                <a:spcPct val="100000"/>
              </a:lnSpc>
              <a:spcBef>
                <a:spcPts val="0"/>
              </a:spcBef>
              <a:spcAft>
                <a:spcPts val="60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9" name="Text Placeholder 18"/>
          <p:cNvSpPr>
            <a:spLocks noGrp="1"/>
          </p:cNvSpPr>
          <p:nvPr>
            <p:ph type="body" sz="quarter" idx="13"/>
          </p:nvPr>
        </p:nvSpPr>
        <p:spPr bwMode="gray">
          <a:xfrm>
            <a:off x="414338" y="779463"/>
            <a:ext cx="8330184" cy="307777"/>
          </a:xfrm>
          <a:prstGeom prst="rect">
            <a:avLst/>
          </a:prstGeom>
          <a:noFill/>
          <a:ln w="9525" algn="ctr">
            <a:noFill/>
            <a:miter lim="800000"/>
            <a:headEnd/>
            <a:tailEnd/>
          </a:ln>
          <a:effectLst/>
        </p:spPr>
        <p:txBody>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lvl="0"/>
            <a:r>
              <a:rPr lang="en-US" smtClean="0"/>
              <a:t>Click to edit Master text styles</a:t>
            </a:r>
          </a:p>
        </p:txBody>
      </p:sp>
      <p:sp>
        <p:nvSpPr>
          <p:cNvPr id="5" name="Title Placeholder 10"/>
          <p:cNvSpPr>
            <a:spLocks noGrp="1"/>
          </p:cNvSpPr>
          <p:nvPr>
            <p:ph type="title"/>
          </p:nvPr>
        </p:nvSpPr>
        <p:spPr bwMode="gray">
          <a:xfrm>
            <a:off x="414338" y="336265"/>
            <a:ext cx="8330184" cy="443198"/>
          </a:xfrm>
          <a:prstGeom prst="rect">
            <a:avLst/>
          </a:prstGeom>
        </p:spPr>
        <p:txBody>
          <a:bodyPr/>
          <a:lstStyle>
            <a:lvl1pPr>
              <a:lnSpc>
                <a:spcPct val="100000"/>
              </a:lnSpc>
              <a:defRPr/>
            </a:lvl1pPr>
          </a:lstStyle>
          <a:p>
            <a:pPr lvl="0"/>
            <a:r>
              <a:rPr lang="en-US" smtClean="0"/>
              <a:t>Click to edit Master title style</a:t>
            </a:r>
            <a:endParaRPr lang="en-US" dirty="0"/>
          </a:p>
        </p:txBody>
      </p:sp>
    </p:spTree>
    <p:extLst>
      <p:ext uri="{BB962C8B-B14F-4D97-AF65-F5344CB8AC3E}">
        <p14:creationId xmlns:p14="http://schemas.microsoft.com/office/powerpoint/2010/main" val="169713741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solidFill>
          <a:srgbClr val="00B0F0"/>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auto">
          <a:xfrm>
            <a:off x="411480" y="2824696"/>
            <a:ext cx="8149908" cy="680186"/>
          </a:xfrm>
          <a:prstGeom prst="rect">
            <a:avLst/>
          </a:prstGeom>
        </p:spPr>
        <p:txBody>
          <a:bodyPr/>
          <a:lstStyle>
            <a:lvl1pPr>
              <a:lnSpc>
                <a:spcPct val="85000"/>
              </a:lnSpc>
              <a:defRPr sz="5200" b="0" baseline="0" smtClean="0">
                <a:solidFill>
                  <a:schemeClr val="bg1"/>
                </a:solidFill>
                <a:latin typeface="Times New Roman" pitchFamily="18" charset="0"/>
                <a:cs typeface="Times New Roman" pitchFamily="18" charset="0"/>
              </a:defRPr>
            </a:lvl1pPr>
          </a:lstStyle>
          <a:p>
            <a:r>
              <a:rPr lang="en-US" smtClean="0"/>
              <a:t>Click to edit Master title style</a:t>
            </a:r>
            <a:endParaRPr lang="en-US" dirty="0" smtClean="0"/>
          </a:p>
        </p:txBody>
      </p:sp>
    </p:spTree>
    <p:extLst>
      <p:ext uri="{BB962C8B-B14F-4D97-AF65-F5344CB8AC3E}">
        <p14:creationId xmlns:p14="http://schemas.microsoft.com/office/powerpoint/2010/main" val="2178877369"/>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411479" y="1399029"/>
            <a:ext cx="3999155" cy="4887471"/>
          </a:xfrm>
          <a:prstGeom prst="rect">
            <a:avLst/>
          </a:prstGeom>
          <a:noFill/>
          <a:ln w="9525" algn="ctr">
            <a:noFill/>
            <a:miter lim="800000"/>
            <a:headEnd/>
            <a:tailEnd/>
          </a:ln>
          <a:effectLst/>
        </p:spPr>
        <p:txBody>
          <a:bodyPr>
            <a:noAutofit/>
          </a:bodyPr>
          <a:lstStyle>
            <a:lvl1pPr marR="0" algn="l" defTabSz="914400" rtl="0" eaLnBrk="1" fontAlgn="base" latinLnBrk="0" hangingPunct="1">
              <a:lnSpc>
                <a:spcPct val="100000"/>
              </a:lnSpc>
              <a:spcAft>
                <a:spcPct val="0"/>
              </a:spcAft>
              <a:buFont typeface="Arial" pitchFamily="34" charset="0"/>
              <a:tabLst>
                <a:tab pos="3889375" algn="r"/>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1pPr>
            <a:lvl2pPr marL="233363" marR="0" indent="-233363" algn="l" defTabSz="914400" rtl="0" eaLnBrk="1" fontAlgn="base" latinLnBrk="0" hangingPunct="1">
              <a:lnSpc>
                <a:spcPct val="100000"/>
              </a:lnSpc>
              <a:spcAft>
                <a:spcPct val="0"/>
              </a:spcAft>
              <a:buFont typeface="Arial" pitchFamily="34" charset="0"/>
              <a:tabLst>
                <a:tab pos="3889375" algn="r"/>
              </a:tabLst>
              <a:defRPr kumimoji="0" lang="en-US" sz="2600" b="0" i="0" u="none" strike="noStrike" kern="1200" cap="none" normalizeH="0" baseline="0" dirty="0" smtClean="0">
                <a:ln>
                  <a:noFill/>
                </a:ln>
                <a:solidFill>
                  <a:schemeClr val="tx2"/>
                </a:solidFill>
                <a:effectLst/>
                <a:latin typeface="+mn-lt"/>
                <a:ea typeface="+mn-ea"/>
                <a:cs typeface="Arial" pitchFamily="34" charset="0"/>
              </a:defRPr>
            </a:lvl2pPr>
            <a:lvl3pPr marL="574675" marR="0" indent="-234950" algn="l" defTabSz="914400" rtl="0" eaLnBrk="1" fontAlgn="base" latinLnBrk="0" hangingPunct="1">
              <a:lnSpc>
                <a:spcPct val="100000"/>
              </a:lnSpc>
              <a:spcAft>
                <a:spcPct val="0"/>
              </a:spcAft>
              <a:buFont typeface="Arial" pitchFamily="34" charset="0"/>
              <a:tabLst>
                <a:tab pos="3883025" algn="r"/>
              </a:tabLst>
              <a:defRPr kumimoji="0" lang="en-US" sz="2200" b="0" i="0" u="none" strike="noStrike" kern="1200" cap="none" normalizeH="0" baseline="0" dirty="0" smtClean="0">
                <a:ln>
                  <a:noFill/>
                </a:ln>
                <a:solidFill>
                  <a:schemeClr val="tx2"/>
                </a:solidFill>
                <a:effectLst/>
                <a:latin typeface="+mn-lt"/>
                <a:ea typeface="+mn-ea"/>
                <a:cs typeface="Arial" pitchFamily="34" charset="0"/>
              </a:defRPr>
            </a:lvl3pPr>
            <a:lvl4pPr marL="914400" marR="0" indent="-223838" algn="l" defTabSz="914400" rtl="0" eaLnBrk="1" fontAlgn="base" latinLnBrk="0" hangingPunct="1">
              <a:lnSpc>
                <a:spcPct val="100000"/>
              </a:lnSpc>
              <a:spcAft>
                <a:spcPct val="0"/>
              </a:spcAft>
              <a:buFont typeface="Arial" pitchFamily="34" charset="0"/>
              <a:tabLst>
                <a:tab pos="3889375" algn="r"/>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tab pos="3889375" algn="r"/>
              </a:tabLst>
              <a:defRPr kumimoji="0" lang="en-US" sz="16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Title Placeholder 10"/>
          <p:cNvSpPr>
            <a:spLocks noGrp="1"/>
          </p:cNvSpPr>
          <p:nvPr>
            <p:ph type="title"/>
          </p:nvPr>
        </p:nvSpPr>
        <p:spPr bwMode="gray">
          <a:xfrm>
            <a:off x="414338" y="336265"/>
            <a:ext cx="8330184" cy="443198"/>
          </a:xfrm>
          <a:prstGeom prst="rect">
            <a:avLst/>
          </a:prstGeom>
        </p:spPr>
        <p:txBody>
          <a:bodyPr/>
          <a:lstStyle>
            <a:lvl1pPr>
              <a:lnSpc>
                <a:spcPct val="100000"/>
              </a:lnSpc>
              <a:defRPr/>
            </a:lvl1pPr>
          </a:lstStyle>
          <a:p>
            <a:pPr lvl="0"/>
            <a:r>
              <a:rPr lang="en-US" smtClean="0"/>
              <a:t>Click to edit Master title style</a:t>
            </a:r>
            <a:endParaRPr lang="en-US" dirty="0"/>
          </a:p>
        </p:txBody>
      </p:sp>
    </p:spTree>
    <p:extLst>
      <p:ext uri="{BB962C8B-B14F-4D97-AF65-F5344CB8AC3E}">
        <p14:creationId xmlns:p14="http://schemas.microsoft.com/office/powerpoint/2010/main" val="30109708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Graph">
    <p:spTree>
      <p:nvGrpSpPr>
        <p:cNvPr id="1" name=""/>
        <p:cNvGrpSpPr/>
        <p:nvPr/>
      </p:nvGrpSpPr>
      <p:grpSpPr>
        <a:xfrm>
          <a:off x="0" y="0"/>
          <a:ext cx="0" cy="0"/>
          <a:chOff x="0" y="0"/>
          <a:chExt cx="0" cy="0"/>
        </a:xfrm>
      </p:grpSpPr>
      <p:sp>
        <p:nvSpPr>
          <p:cNvPr id="6" name="Content Placeholder 20"/>
          <p:cNvSpPr>
            <a:spLocks noGrp="1"/>
          </p:cNvSpPr>
          <p:nvPr>
            <p:ph sz="quarter" idx="11"/>
          </p:nvPr>
        </p:nvSpPr>
        <p:spPr bwMode="gray">
          <a:xfrm>
            <a:off x="411479" y="1873248"/>
            <a:ext cx="3999155" cy="1600438"/>
          </a:xfrm>
          <a:prstGeom prst="rect">
            <a:avLst/>
          </a:prstGeom>
        </p:spPr>
        <p:txBody>
          <a:bodyPr/>
          <a:lstStyle>
            <a:lvl1pPr>
              <a:defRPr>
                <a:latin typeface="+mn-lt"/>
              </a:defRPr>
            </a:lvl1pPr>
            <a:lvl2pPr marL="233363" indent="-233363">
              <a:defRPr lang="en-US" sz="2600" kern="1200" dirty="0" smtClean="0">
                <a:solidFill>
                  <a:schemeClr val="tx2"/>
                </a:solidFill>
                <a:latin typeface="+mn-lt"/>
                <a:ea typeface="+mn-ea"/>
                <a:cs typeface="+mn-cs"/>
              </a:defRPr>
            </a:lvl2pPr>
            <a:lvl3pPr marL="574675" indent="-234950">
              <a:defRPr lang="en-US" sz="2200" kern="1200" dirty="0" smtClean="0">
                <a:solidFill>
                  <a:schemeClr val="tx2"/>
                </a:solidFill>
                <a:latin typeface="+mn-lt"/>
                <a:ea typeface="+mn-ea"/>
                <a:cs typeface="+mn-cs"/>
              </a:defRPr>
            </a:lvl3pPr>
            <a:lvl4pPr marL="796925" indent="-222250">
              <a:defRPr lang="en-US" sz="2000" kern="1200" dirty="0" smtClean="0">
                <a:solidFill>
                  <a:schemeClr val="tx2"/>
                </a:solidFill>
                <a:latin typeface="+mn-lt"/>
                <a:ea typeface="+mn-ea"/>
                <a:cs typeface="+mn-cs"/>
              </a:defRPr>
            </a:lvl4pPr>
            <a:lvl5pPr>
              <a:defRPr lang="en-US" sz="16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2" name="Text Placeholder 11"/>
          <p:cNvSpPr>
            <a:spLocks noGrp="1"/>
          </p:cNvSpPr>
          <p:nvPr>
            <p:ph type="body" sz="quarter" idx="13"/>
          </p:nvPr>
        </p:nvSpPr>
        <p:spPr bwMode="gray">
          <a:xfrm>
            <a:off x="414338" y="1397000"/>
            <a:ext cx="3995928" cy="400110"/>
          </a:xfrm>
          <a:prstGeom prst="rect">
            <a:avLst/>
          </a:prstGeom>
        </p:spPr>
        <p:txBody>
          <a:bodyPr/>
          <a:lstStyle>
            <a:lvl1pPr>
              <a:defRPr sz="2600" b="1">
                <a:latin typeface="+mj-lt"/>
              </a:defRPr>
            </a:lvl1pPr>
          </a:lstStyle>
          <a:p>
            <a:pPr lvl="0"/>
            <a:r>
              <a:rPr lang="en-US" smtClean="0"/>
              <a:t>Click to edit Master text styles</a:t>
            </a:r>
          </a:p>
        </p:txBody>
      </p:sp>
      <p:sp>
        <p:nvSpPr>
          <p:cNvPr id="17" name="Text Placeholder 18"/>
          <p:cNvSpPr>
            <a:spLocks noGrp="1"/>
          </p:cNvSpPr>
          <p:nvPr>
            <p:ph type="body" sz="quarter" idx="17"/>
          </p:nvPr>
        </p:nvSpPr>
        <p:spPr bwMode="gray">
          <a:xfrm>
            <a:off x="414338" y="779463"/>
            <a:ext cx="8330184" cy="307777"/>
          </a:xfrm>
          <a:prstGeom prst="rect">
            <a:avLst/>
          </a:prstGeom>
          <a:noFill/>
          <a:ln w="9525" algn="ctr">
            <a:noFill/>
            <a:miter lim="800000"/>
            <a:headEnd/>
            <a:tailEnd/>
          </a:ln>
          <a:effectLst/>
        </p:spPr>
        <p:txBody>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lvl="0"/>
            <a:r>
              <a:rPr lang="en-US" smtClean="0"/>
              <a:t>Click to edit Master text styles</a:t>
            </a:r>
          </a:p>
        </p:txBody>
      </p:sp>
      <p:sp>
        <p:nvSpPr>
          <p:cNvPr id="10" name="Title Placeholder 10"/>
          <p:cNvSpPr>
            <a:spLocks noGrp="1"/>
          </p:cNvSpPr>
          <p:nvPr>
            <p:ph type="title"/>
          </p:nvPr>
        </p:nvSpPr>
        <p:spPr bwMode="gray">
          <a:xfrm>
            <a:off x="414338" y="450279"/>
            <a:ext cx="8330184" cy="329184"/>
          </a:xfrm>
          <a:prstGeom prst="rect">
            <a:avLst/>
          </a:prstGeom>
        </p:spPr>
        <p:txBody>
          <a:bodyPr/>
          <a:lstStyle>
            <a:lvl1pPr>
              <a:defRPr>
                <a:latin typeface="+mj-lt"/>
              </a:defRPr>
            </a:lvl1pPr>
          </a:lstStyle>
          <a:p>
            <a:pPr lvl="0"/>
            <a:r>
              <a:rPr lang="en-US" smtClean="0"/>
              <a:t>Click to edit Master title style</a:t>
            </a:r>
            <a:endParaRPr lang="en-US" dirty="0"/>
          </a:p>
        </p:txBody>
      </p:sp>
      <p:sp>
        <p:nvSpPr>
          <p:cNvPr id="11" name="Content Placeholder 20"/>
          <p:cNvSpPr>
            <a:spLocks noGrp="1"/>
          </p:cNvSpPr>
          <p:nvPr>
            <p:ph sz="quarter" idx="18"/>
          </p:nvPr>
        </p:nvSpPr>
        <p:spPr bwMode="gray">
          <a:xfrm>
            <a:off x="4724400" y="1873248"/>
            <a:ext cx="3999155" cy="1600438"/>
          </a:xfrm>
          <a:prstGeom prst="rect">
            <a:avLst/>
          </a:prstGeom>
        </p:spPr>
        <p:txBody>
          <a:bodyPr/>
          <a:lstStyle>
            <a:lvl1pPr>
              <a:defRPr>
                <a:latin typeface="+mn-lt"/>
              </a:defRPr>
            </a:lvl1pPr>
            <a:lvl2pPr marL="233363" indent="-233363">
              <a:defRPr lang="en-US" sz="2600" kern="1200" dirty="0" smtClean="0">
                <a:solidFill>
                  <a:schemeClr val="tx2"/>
                </a:solidFill>
                <a:latin typeface="+mn-lt"/>
                <a:ea typeface="+mn-ea"/>
                <a:cs typeface="+mn-cs"/>
              </a:defRPr>
            </a:lvl2pPr>
            <a:lvl3pPr marL="574675" indent="-234950">
              <a:defRPr lang="en-US" sz="2200" kern="1200" dirty="0" smtClean="0">
                <a:solidFill>
                  <a:schemeClr val="tx2"/>
                </a:solidFill>
                <a:latin typeface="+mn-lt"/>
                <a:ea typeface="+mn-ea"/>
                <a:cs typeface="+mn-cs"/>
              </a:defRPr>
            </a:lvl3pPr>
            <a:lvl4pPr marL="796925" indent="-222250">
              <a:defRPr lang="en-US" sz="2000" kern="1200" dirty="0" smtClean="0">
                <a:solidFill>
                  <a:schemeClr val="tx2"/>
                </a:solidFill>
                <a:latin typeface="+mn-lt"/>
                <a:ea typeface="+mn-ea"/>
                <a:cs typeface="+mn-cs"/>
              </a:defRPr>
            </a:lvl4pPr>
            <a:lvl5pPr>
              <a:defRPr lang="en-US" sz="16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1"/>
          <p:cNvSpPr>
            <a:spLocks noGrp="1"/>
          </p:cNvSpPr>
          <p:nvPr>
            <p:ph type="body" sz="quarter" idx="19"/>
          </p:nvPr>
        </p:nvSpPr>
        <p:spPr bwMode="gray">
          <a:xfrm>
            <a:off x="4727259" y="1397000"/>
            <a:ext cx="3995928" cy="400110"/>
          </a:xfrm>
          <a:prstGeom prst="rect">
            <a:avLst/>
          </a:prstGeom>
        </p:spPr>
        <p:txBody>
          <a:bodyPr/>
          <a:lstStyle>
            <a:lvl1pPr>
              <a:defRPr sz="2600" b="1">
                <a:latin typeface="+mj-lt"/>
              </a:defRPr>
            </a:lvl1pPr>
          </a:lstStyle>
          <a:p>
            <a:pPr lvl="0"/>
            <a:r>
              <a:rPr lang="en-US" smtClean="0"/>
              <a:t>Click to edit Master text styles</a:t>
            </a:r>
          </a:p>
        </p:txBody>
      </p:sp>
    </p:spTree>
    <p:extLst>
      <p:ext uri="{BB962C8B-B14F-4D97-AF65-F5344CB8AC3E}">
        <p14:creationId xmlns:p14="http://schemas.microsoft.com/office/powerpoint/2010/main" val="31811986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12" name="Text Placeholder 18"/>
          <p:cNvSpPr>
            <a:spLocks noGrp="1"/>
          </p:cNvSpPr>
          <p:nvPr>
            <p:ph type="body" sz="quarter" idx="13"/>
          </p:nvPr>
        </p:nvSpPr>
        <p:spPr bwMode="gray">
          <a:xfrm>
            <a:off x="414338" y="779463"/>
            <a:ext cx="8330184" cy="307777"/>
          </a:xfrm>
          <a:prstGeom prst="rect">
            <a:avLst/>
          </a:prstGeom>
          <a:noFill/>
          <a:ln w="9525" algn="ctr">
            <a:noFill/>
            <a:miter lim="800000"/>
            <a:headEnd/>
            <a:tailEnd/>
          </a:ln>
          <a:effectLst/>
        </p:spPr>
        <p:txBody>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lvl="0"/>
            <a:r>
              <a:rPr lang="en-US" smtClean="0"/>
              <a:t>Click to edit Master text styles</a:t>
            </a:r>
          </a:p>
        </p:txBody>
      </p:sp>
      <p:sp>
        <p:nvSpPr>
          <p:cNvPr id="7" name="Title Placeholder 10"/>
          <p:cNvSpPr>
            <a:spLocks noGrp="1"/>
          </p:cNvSpPr>
          <p:nvPr>
            <p:ph type="title"/>
          </p:nvPr>
        </p:nvSpPr>
        <p:spPr bwMode="gray">
          <a:xfrm>
            <a:off x="414338" y="336265"/>
            <a:ext cx="8330184" cy="443198"/>
          </a:xfrm>
          <a:prstGeom prst="rect">
            <a:avLst/>
          </a:prstGeom>
        </p:spPr>
        <p:txBody>
          <a:bodyPr/>
          <a:lstStyle>
            <a:lvl1pPr>
              <a:lnSpc>
                <a:spcPct val="100000"/>
              </a:lnSpc>
              <a:defRPr>
                <a:latin typeface="+mj-lt"/>
              </a:defRPr>
            </a:lvl1pPr>
          </a:lstStyle>
          <a:p>
            <a:pPr lvl="0"/>
            <a:r>
              <a:rPr lang="en-US" smtClean="0"/>
              <a:t>Click to edit Master title style</a:t>
            </a:r>
            <a:endParaRPr lang="en-US" dirty="0"/>
          </a:p>
        </p:txBody>
      </p:sp>
      <p:sp>
        <p:nvSpPr>
          <p:cNvPr id="8" name="Content Placeholder 20"/>
          <p:cNvSpPr>
            <a:spLocks noGrp="1"/>
          </p:cNvSpPr>
          <p:nvPr>
            <p:ph sz="quarter" idx="11"/>
          </p:nvPr>
        </p:nvSpPr>
        <p:spPr bwMode="gray">
          <a:xfrm>
            <a:off x="411480" y="1399029"/>
            <a:ext cx="2651760" cy="4887471"/>
          </a:xfrm>
          <a:prstGeom prst="rect">
            <a:avLst/>
          </a:prstGeom>
          <a:noFill/>
          <a:ln w="9525" algn="ctr">
            <a:noFill/>
            <a:miter lim="800000"/>
            <a:headEnd/>
            <a:tailEnd/>
          </a:ln>
          <a:effectLst/>
        </p:spPr>
        <p:txBody>
          <a:bodyPr>
            <a:noAutofit/>
          </a:bodyPr>
          <a:lstStyle>
            <a:lvl1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20"/>
          <p:cNvSpPr>
            <a:spLocks noGrp="1"/>
          </p:cNvSpPr>
          <p:nvPr>
            <p:ph sz="quarter" idx="14"/>
          </p:nvPr>
        </p:nvSpPr>
        <p:spPr bwMode="gray">
          <a:xfrm>
            <a:off x="3245624" y="1399029"/>
            <a:ext cx="2651760" cy="4887471"/>
          </a:xfrm>
          <a:prstGeom prst="rect">
            <a:avLst/>
          </a:prstGeom>
          <a:noFill/>
          <a:ln w="9525" algn="ctr">
            <a:noFill/>
            <a:miter lim="800000"/>
            <a:headEnd/>
            <a:tailEnd/>
          </a:ln>
          <a:effectLst/>
        </p:spPr>
        <p:txBody>
          <a:bodyPr>
            <a:noAutofit/>
          </a:bodyPr>
          <a:lstStyle>
            <a:lvl1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20"/>
          <p:cNvSpPr>
            <a:spLocks noGrp="1"/>
          </p:cNvSpPr>
          <p:nvPr>
            <p:ph sz="quarter" idx="15"/>
          </p:nvPr>
        </p:nvSpPr>
        <p:spPr bwMode="gray">
          <a:xfrm>
            <a:off x="6069209" y="1399029"/>
            <a:ext cx="2651760" cy="4887471"/>
          </a:xfrm>
          <a:prstGeom prst="rect">
            <a:avLst/>
          </a:prstGeom>
          <a:noFill/>
          <a:ln w="9525" algn="ctr">
            <a:noFill/>
            <a:miter lim="800000"/>
            <a:headEnd/>
            <a:tailEnd/>
          </a:ln>
          <a:effectLst/>
        </p:spPr>
        <p:txBody>
          <a:bodyPr>
            <a:noAutofit/>
          </a:bodyPr>
          <a:lstStyle>
            <a:lvl1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703967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 Graph">
    <p:spTree>
      <p:nvGrpSpPr>
        <p:cNvPr id="1" name=""/>
        <p:cNvGrpSpPr/>
        <p:nvPr/>
      </p:nvGrpSpPr>
      <p:grpSpPr>
        <a:xfrm>
          <a:off x="0" y="0"/>
          <a:ext cx="0" cy="0"/>
          <a:chOff x="0" y="0"/>
          <a:chExt cx="0" cy="0"/>
        </a:xfrm>
      </p:grpSpPr>
      <p:sp>
        <p:nvSpPr>
          <p:cNvPr id="6" name="Content Placeholder 20"/>
          <p:cNvSpPr>
            <a:spLocks noGrp="1"/>
          </p:cNvSpPr>
          <p:nvPr>
            <p:ph sz="quarter" idx="11"/>
          </p:nvPr>
        </p:nvSpPr>
        <p:spPr bwMode="gray">
          <a:xfrm>
            <a:off x="411478" y="1873249"/>
            <a:ext cx="8330184" cy="1620957"/>
          </a:xfrm>
          <a:prstGeom prst="rect">
            <a:avLst/>
          </a:prstGeom>
        </p:spPr>
        <p:txBody>
          <a:bodyPr/>
          <a:lstStyle>
            <a:lvl1pPr>
              <a:defRPr>
                <a:latin typeface="+mn-lt"/>
              </a:defRPr>
            </a:lvl1pPr>
            <a:lvl2pPr>
              <a:defRPr lang="en-US" sz="1800" kern="1200" dirty="0" smtClean="0">
                <a:solidFill>
                  <a:schemeClr val="tx2"/>
                </a:solidFill>
                <a:latin typeface="+mn-lt"/>
                <a:ea typeface="+mn-ea"/>
                <a:cs typeface="+mn-cs"/>
              </a:defRPr>
            </a:lvl2pPr>
            <a:lvl3pPr>
              <a:defRPr lang="en-US" sz="1600" kern="1200" dirty="0" smtClean="0">
                <a:solidFill>
                  <a:schemeClr val="tx2"/>
                </a:solidFill>
                <a:latin typeface="+mn-lt"/>
                <a:ea typeface="+mn-ea"/>
                <a:cs typeface="+mn-cs"/>
              </a:defRPr>
            </a:lvl3pPr>
            <a:lvl4pPr>
              <a:defRPr lang="en-US" sz="1600" kern="1200" dirty="0" smtClean="0">
                <a:solidFill>
                  <a:schemeClr val="tx2"/>
                </a:solidFill>
                <a:latin typeface="+mn-lt"/>
                <a:ea typeface="+mn-ea"/>
                <a:cs typeface="+mn-cs"/>
              </a:defRPr>
            </a:lvl4pPr>
            <a:lvl5pPr marL="1254125" indent="-222250">
              <a:defRPr lang="en-US" sz="16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3"/>
          </p:nvPr>
        </p:nvSpPr>
        <p:spPr bwMode="gray">
          <a:xfrm>
            <a:off x="414338" y="1397000"/>
            <a:ext cx="8330184" cy="276999"/>
          </a:xfrm>
          <a:prstGeom prst="rect">
            <a:avLst/>
          </a:prstGeom>
        </p:spPr>
        <p:txBody>
          <a:bodyPr/>
          <a:lstStyle>
            <a:lvl1pPr>
              <a:defRPr sz="1800" b="1">
                <a:latin typeface="+mj-lt"/>
              </a:defRPr>
            </a:lvl1pPr>
          </a:lstStyle>
          <a:p>
            <a:pPr lvl="0"/>
            <a:r>
              <a:rPr lang="en-US" smtClean="0"/>
              <a:t>Click to edit Master text styles</a:t>
            </a:r>
          </a:p>
        </p:txBody>
      </p:sp>
      <p:sp>
        <p:nvSpPr>
          <p:cNvPr id="7" name="Text Placeholder 13"/>
          <p:cNvSpPr>
            <a:spLocks noGrp="1"/>
          </p:cNvSpPr>
          <p:nvPr>
            <p:ph type="body" sz="quarter" idx="15"/>
          </p:nvPr>
        </p:nvSpPr>
        <p:spPr bwMode="gray">
          <a:xfrm>
            <a:off x="411479" y="6153912"/>
            <a:ext cx="3995928" cy="128016"/>
          </a:xfrm>
          <a:prstGeom prst="rect">
            <a:avLst/>
          </a:prstGeom>
          <a:noFill/>
          <a:ln w="12700" algn="ctr">
            <a:noFill/>
            <a:miter lim="800000"/>
            <a:headEnd/>
            <a:tailEnd/>
          </a:ln>
        </p:spPr>
        <p:txBody>
          <a:bodyPr anchor="b"/>
          <a:lstStyle>
            <a:lvl1pPr algn="l" rtl="0" fontAlgn="base">
              <a:lnSpc>
                <a:spcPct val="100000"/>
              </a:lnSpc>
              <a:spcBef>
                <a:spcPct val="0"/>
              </a:spcBef>
              <a:spcAft>
                <a:spcPct val="0"/>
              </a:spcAft>
              <a:defRPr lang="en-US" sz="800" b="0" kern="1200" smtClean="0">
                <a:solidFill>
                  <a:schemeClr val="tx2"/>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13" name="Text Placeholder 18"/>
          <p:cNvSpPr>
            <a:spLocks noGrp="1"/>
          </p:cNvSpPr>
          <p:nvPr>
            <p:ph type="body" sz="quarter" idx="16"/>
          </p:nvPr>
        </p:nvSpPr>
        <p:spPr bwMode="gray">
          <a:xfrm>
            <a:off x="414338" y="779463"/>
            <a:ext cx="8330184" cy="307777"/>
          </a:xfrm>
          <a:prstGeom prst="rect">
            <a:avLst/>
          </a:prstGeom>
          <a:noFill/>
          <a:ln w="9525" algn="ctr">
            <a:noFill/>
            <a:miter lim="800000"/>
            <a:headEnd/>
            <a:tailEnd/>
          </a:ln>
          <a:effectLst/>
        </p:spPr>
        <p:txBody>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lvl="0"/>
            <a:r>
              <a:rPr lang="en-US" smtClean="0"/>
              <a:t>Click to edit Master text styles</a:t>
            </a:r>
          </a:p>
        </p:txBody>
      </p:sp>
      <p:sp>
        <p:nvSpPr>
          <p:cNvPr id="8" name="Title Placeholder 10"/>
          <p:cNvSpPr>
            <a:spLocks noGrp="1"/>
          </p:cNvSpPr>
          <p:nvPr>
            <p:ph type="title"/>
          </p:nvPr>
        </p:nvSpPr>
        <p:spPr bwMode="gray">
          <a:xfrm>
            <a:off x="414338" y="336265"/>
            <a:ext cx="8330184" cy="443198"/>
          </a:xfrm>
          <a:prstGeom prst="rect">
            <a:avLst/>
          </a:prstGeom>
        </p:spPr>
        <p:txBody>
          <a:bodyPr/>
          <a:lstStyle>
            <a:lvl1pPr>
              <a:lnSpc>
                <a:spcPct val="100000"/>
              </a:lnSpc>
              <a:defRPr>
                <a:latin typeface="+mj-lt"/>
              </a:defRPr>
            </a:lvl1pPr>
          </a:lstStyle>
          <a:p>
            <a:pPr lvl="0"/>
            <a:r>
              <a:rPr lang="en-US" smtClean="0"/>
              <a:t>Click to edit Master title style</a:t>
            </a:r>
            <a:endParaRPr lang="en-US" dirty="0"/>
          </a:p>
        </p:txBody>
      </p:sp>
    </p:spTree>
    <p:extLst>
      <p:ext uri="{BB962C8B-B14F-4D97-AF65-F5344CB8AC3E}">
        <p14:creationId xmlns:p14="http://schemas.microsoft.com/office/powerpoint/2010/main" val="23738962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Divider">
    <p:bg>
      <p:bgPr>
        <a:solidFill>
          <a:schemeClr val="bg1"/>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gray">
          <a:xfrm>
            <a:off x="411480" y="2773363"/>
            <a:ext cx="4325112" cy="731520"/>
          </a:xfrm>
          <a:prstGeom prst="rect">
            <a:avLst/>
          </a:prstGeom>
        </p:spPr>
        <p:txBody>
          <a:bodyPr>
            <a:spAutoFit/>
          </a:bodyPr>
          <a:lstStyle>
            <a:lvl1pPr>
              <a:lnSpc>
                <a:spcPct val="85000"/>
              </a:lnSpc>
              <a:defRPr sz="2800" b="1" smtClean="0">
                <a:latin typeface="+mj-lt"/>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gray">
          <a:xfrm>
            <a:off x="411480" y="3694176"/>
            <a:ext cx="4325112" cy="738664"/>
          </a:xfrm>
          <a:prstGeom prst="rect">
            <a:avLst/>
          </a:prstGeom>
        </p:spPr>
        <p:txBody>
          <a:bodyPr>
            <a:spAutoFit/>
          </a:bodyPr>
          <a:lstStyle>
            <a:lvl1pPr>
              <a:lnSpc>
                <a:spcPct val="100000"/>
              </a:lnSpc>
              <a:defRPr sz="2400" b="0" smtClean="0">
                <a:latin typeface="Arial" pitchFamily="34" charset="0"/>
              </a:defRPr>
            </a:lvl1pPr>
          </a:lstStyle>
          <a:p>
            <a:r>
              <a:rPr lang="en-US" smtClean="0"/>
              <a:t>Click to edit Master subtitle style</a:t>
            </a:r>
            <a:endParaRPr smtClean="0"/>
          </a:p>
        </p:txBody>
      </p:sp>
    </p:spTree>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10"/>
          <p:cNvSpPr>
            <a:spLocks noGrp="1"/>
          </p:cNvSpPr>
          <p:nvPr>
            <p:ph type="title"/>
          </p:nvPr>
        </p:nvSpPr>
        <p:spPr bwMode="gray">
          <a:xfrm>
            <a:off x="414338" y="336265"/>
            <a:ext cx="8330184" cy="443198"/>
          </a:xfrm>
          <a:prstGeom prst="rect">
            <a:avLst/>
          </a:prstGeom>
        </p:spPr>
        <p:txBody>
          <a:bodyPr/>
          <a:lstStyle>
            <a:lvl1pPr>
              <a:lnSpc>
                <a:spcPct val="100000"/>
              </a:lnSpc>
              <a:defRPr/>
            </a:lvl1pPr>
          </a:lstStyle>
          <a:p>
            <a:pPr lvl="0"/>
            <a:r>
              <a:rPr lang="en-US" smtClean="0"/>
              <a:t>Click to edit Master title style</a:t>
            </a:r>
            <a:endParaRPr lang="en-US" dirty="0"/>
          </a:p>
        </p:txBody>
      </p:sp>
    </p:spTree>
    <p:extLst>
      <p:ext uri="{BB962C8B-B14F-4D97-AF65-F5344CB8AC3E}">
        <p14:creationId xmlns:p14="http://schemas.microsoft.com/office/powerpoint/2010/main" val="250333754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4" name="Picture 19" descr="DEL_PRI_RGB"/>
          <p:cNvPicPr>
            <a:picLocks noChangeAspect="1" noChangeArrowheads="1"/>
          </p:cNvPicPr>
          <p:nvPr userDrawn="1"/>
        </p:nvPicPr>
        <p:blipFill>
          <a:blip r:embed="rId2" cstate="print"/>
          <a:srcRect l="11237" t="27428" r="9845" b="25551"/>
          <a:stretch>
            <a:fillRect/>
          </a:stretch>
        </p:blipFill>
        <p:spPr bwMode="gray">
          <a:xfrm>
            <a:off x="2844800" y="3032125"/>
            <a:ext cx="3451225" cy="790575"/>
          </a:xfrm>
          <a:prstGeom prst="rect">
            <a:avLst/>
          </a:prstGeom>
          <a:noFill/>
          <a:ln w="9525">
            <a:noFill/>
            <a:miter lim="800000"/>
            <a:headEnd/>
            <a:tailEnd/>
          </a:ln>
        </p:spPr>
      </p:pic>
      <p:sp>
        <p:nvSpPr>
          <p:cNvPr id="3" name="Text Placeholder 5"/>
          <p:cNvSpPr>
            <a:spLocks noGrp="1"/>
          </p:cNvSpPr>
          <p:nvPr>
            <p:ph type="body" sz="quarter" idx="10"/>
          </p:nvPr>
        </p:nvSpPr>
        <p:spPr bwMode="gray">
          <a:xfrm>
            <a:off x="402336" y="5458968"/>
            <a:ext cx="4937760" cy="1152144"/>
          </a:xfrm>
        </p:spPr>
        <p:txBody>
          <a:bodyPr anchor="b">
            <a:noAutofit/>
          </a:bodyPr>
          <a:lstStyle>
            <a:lvl1pPr>
              <a:lnSpc>
                <a:spcPts val="800"/>
              </a:lnSpc>
              <a:spcBef>
                <a:spcPts val="400"/>
              </a:spcBef>
              <a:spcAft>
                <a:spcPts val="400"/>
              </a:spcAft>
              <a:defRPr sz="700"/>
            </a:lvl1pPr>
          </a:lstStyle>
          <a:p>
            <a:pPr lvl="0"/>
            <a:r>
              <a:rPr lang="en-US" smtClean="0"/>
              <a:t>Click to edit Master text styles</a:t>
            </a:r>
          </a:p>
        </p:txBody>
      </p:sp>
    </p:spTree>
    <p:extLst>
      <p:ext uri="{BB962C8B-B14F-4D97-AF65-F5344CB8AC3E}">
        <p14:creationId xmlns:p14="http://schemas.microsoft.com/office/powerpoint/2010/main" val="2931387100"/>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39910" y="283386"/>
            <a:ext cx="8329612" cy="442913"/>
          </a:xfrm>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737236036"/>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userDrawn="1"/>
        </p:nvSpPr>
        <p:spPr bwMode="gray">
          <a:xfrm>
            <a:off x="392113" y="1154113"/>
            <a:ext cx="4014787" cy="5135562"/>
          </a:xfrm>
          <a:prstGeom prst="rect">
            <a:avLst/>
          </a:prstGeom>
          <a:noFill/>
          <a:ln w="9525" algn="ctr">
            <a:noFill/>
            <a:miter lim="800000"/>
            <a:headEnd/>
            <a:tailEnd/>
          </a:ln>
          <a:effectLst/>
        </p:spPr>
        <p:txBody>
          <a:bodyPr lIns="0" tIns="0" rIns="0" bIns="0"/>
          <a:lstStyle/>
          <a:p>
            <a:pPr algn="l" fontAlgn="auto">
              <a:lnSpc>
                <a:spcPct val="106000"/>
              </a:lnSpc>
              <a:spcBef>
                <a:spcPct val="80000"/>
              </a:spcBef>
              <a:spcAft>
                <a:spcPts val="0"/>
              </a:spcAft>
              <a:buClr>
                <a:srgbClr val="002776"/>
              </a:buClr>
              <a:buSzPct val="80000"/>
              <a:buFont typeface="Wingdings" pitchFamily="2" charset="2"/>
              <a:buNone/>
              <a:defRPr/>
            </a:pPr>
            <a:endParaRPr lang="en-US" sz="1000" b="0" dirty="0">
              <a:solidFill>
                <a:srgbClr val="002776"/>
              </a:solidFill>
              <a:latin typeface="Arial"/>
              <a:cs typeface="Arial" charset="0"/>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20" name="Text Placeholder 19"/>
          <p:cNvSpPr>
            <a:spLocks noGrp="1"/>
          </p:cNvSpPr>
          <p:nvPr>
            <p:ph type="body" sz="quarter" idx="12"/>
          </p:nvPr>
        </p:nvSpPr>
        <p:spPr>
          <a:xfrm>
            <a:off x="393192" y="256032"/>
            <a:ext cx="8348472" cy="521208"/>
          </a:xfrm>
          <a:solidFill>
            <a:srgbClr val="FFFFFF"/>
          </a:solidFill>
        </p:spPr>
        <p:txBody>
          <a:bodyPr anchor="b"/>
          <a:lstStyle>
            <a:lvl1pPr>
              <a:buNone/>
              <a:defRPr sz="1600" b="1"/>
            </a:lvl1pPr>
          </a:lstStyle>
          <a:p>
            <a:pPr lvl="0"/>
            <a:r>
              <a:rPr lang="en-US" smtClean="0"/>
              <a:t>Click to edit Master text styles</a:t>
            </a:r>
          </a:p>
        </p:txBody>
      </p:sp>
    </p:spTree>
    <p:extLst>
      <p:ext uri="{BB962C8B-B14F-4D97-AF65-F5344CB8AC3E}">
        <p14:creationId xmlns:p14="http://schemas.microsoft.com/office/powerpoint/2010/main" val="155566009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pSp>
        <p:nvGrpSpPr>
          <p:cNvPr id="4" name="Group 98"/>
          <p:cNvGrpSpPr>
            <a:grpSpLocks/>
          </p:cNvGrpSpPr>
          <p:nvPr userDrawn="1">
            <p:custDataLst>
              <p:tags r:id="rId2"/>
            </p:custDataLst>
          </p:nvPr>
        </p:nvGrpSpPr>
        <p:grpSpPr bwMode="auto">
          <a:xfrm>
            <a:off x="-1157288" y="22225"/>
            <a:ext cx="955675" cy="3889375"/>
            <a:chOff x="-1253505" y="22863"/>
            <a:chExt cx="1035794" cy="3889829"/>
          </a:xfrm>
        </p:grpSpPr>
        <p:sp>
          <p:nvSpPr>
            <p:cNvPr id="5" name="Rectangle 27"/>
            <p:cNvSpPr>
              <a:spLocks noChangeArrowheads="1"/>
            </p:cNvSpPr>
            <p:nvPr userDrawn="1">
              <p:custDataLst>
                <p:tags r:id="rId4"/>
              </p:custDataLst>
            </p:nvPr>
          </p:nvSpPr>
          <p:spPr bwMode="auto">
            <a:xfrm>
              <a:off x="-1253505" y="22863"/>
              <a:ext cx="1035794" cy="3889829"/>
            </a:xfrm>
            <a:prstGeom prst="rect">
              <a:avLst/>
            </a:prstGeom>
            <a:solidFill>
              <a:schemeClr val="bg1"/>
            </a:solidFill>
            <a:ln w="12700" algn="ctr">
              <a:noFill/>
              <a:miter lim="800000"/>
              <a:headEnd/>
              <a:tailEnd/>
            </a:ln>
          </p:spPr>
          <p:txBody>
            <a:bodyPr wrap="none" lIns="0" tIns="0" rIns="0" bIns="0"/>
            <a:lstStyle/>
            <a:p>
              <a:pPr>
                <a:spcBef>
                  <a:spcPct val="0"/>
                </a:spcBef>
                <a:defRPr/>
              </a:pPr>
              <a:r>
                <a:rPr lang="en-GB" sz="1000" dirty="0">
                  <a:solidFill>
                    <a:srgbClr val="002776"/>
                  </a:solidFill>
                  <a:latin typeface="Arial"/>
                  <a:cs typeface="Arial" charset="0"/>
                </a:rPr>
                <a:t>Primary colors</a:t>
              </a:r>
            </a:p>
          </p:txBody>
        </p:sp>
        <p:grpSp>
          <p:nvGrpSpPr>
            <p:cNvPr id="6" name="Group 50"/>
            <p:cNvGrpSpPr>
              <a:grpSpLocks/>
            </p:cNvGrpSpPr>
            <p:nvPr userDrawn="1"/>
          </p:nvGrpSpPr>
          <p:grpSpPr bwMode="auto">
            <a:xfrm>
              <a:off x="-967887" y="181632"/>
              <a:ext cx="464559" cy="585856"/>
              <a:chOff x="12661026" y="-1313340"/>
              <a:chExt cx="464559" cy="585856"/>
            </a:xfrm>
          </p:grpSpPr>
          <p:sp>
            <p:nvSpPr>
              <p:cNvPr id="22" name="Rectangle 25"/>
              <p:cNvSpPr>
                <a:spLocks noChangeArrowheads="1"/>
              </p:cNvSpPr>
              <p:nvPr userDrawn="1">
                <p:custDataLst>
                  <p:tags r:id="rId15"/>
                </p:custDataLst>
              </p:nvPr>
            </p:nvSpPr>
            <p:spPr bwMode="auto">
              <a:xfrm>
                <a:off x="12661026" y="-1313340"/>
                <a:ext cx="464559" cy="585856"/>
              </a:xfrm>
              <a:prstGeom prst="rect">
                <a:avLst/>
              </a:prstGeom>
              <a:solidFill>
                <a:srgbClr val="002776"/>
              </a:solidFill>
              <a:ln w="12700" algn="ctr">
                <a:noFill/>
                <a:miter lim="800000"/>
                <a:headEnd/>
                <a:tailEnd/>
              </a:ln>
            </p:spPr>
            <p:txBody>
              <a:bodyPr wrap="none" lIns="0" tIns="0" rIns="0" bIns="0" anchor="ctr"/>
              <a:lstStyle/>
              <a:p>
                <a:pPr algn="l" defTabSz="914724">
                  <a:spcBef>
                    <a:spcPct val="0"/>
                  </a:spcBef>
                  <a:defRPr/>
                </a:pPr>
                <a:endParaRPr lang="en-GB" sz="1000" b="0" dirty="0">
                  <a:solidFill>
                    <a:srgbClr val="002776"/>
                  </a:solidFill>
                  <a:latin typeface="Arial"/>
                  <a:cs typeface="Arial" charset="0"/>
                </a:endParaRPr>
              </a:p>
            </p:txBody>
          </p:sp>
          <p:sp>
            <p:nvSpPr>
              <p:cNvPr id="23" name="Rectangle 14"/>
              <p:cNvSpPr>
                <a:spLocks noChangeArrowheads="1"/>
              </p:cNvSpPr>
              <p:nvPr userDrawn="1">
                <p:custDataLst>
                  <p:tags r:id="rId16"/>
                </p:custDataLst>
              </p:nvPr>
            </p:nvSpPr>
            <p:spPr bwMode="auto">
              <a:xfrm>
                <a:off x="12726408" y="-1251420"/>
                <a:ext cx="361324" cy="462016"/>
              </a:xfrm>
              <a:prstGeom prst="rect">
                <a:avLst/>
              </a:prstGeom>
              <a:noFill/>
              <a:ln w="12700" algn="ctr">
                <a:noFill/>
                <a:miter lim="800000"/>
                <a:headEnd/>
                <a:tailEnd/>
              </a:ln>
            </p:spPr>
            <p:txBody>
              <a:bodyPr wrap="none" lIns="0" tIns="0" rIns="0" bIns="0">
                <a:spAutoFit/>
              </a:bodyPr>
              <a:lstStyle/>
              <a:p>
                <a:pPr algn="l" defTabSz="914724">
                  <a:spcBef>
                    <a:spcPct val="0"/>
                  </a:spcBef>
                  <a:defRPr/>
                </a:pPr>
                <a:r>
                  <a:rPr lang="en-GB" sz="1000" b="0" dirty="0">
                    <a:solidFill>
                      <a:srgbClr val="FFFFFF"/>
                    </a:solidFill>
                    <a:latin typeface="Arial"/>
                    <a:cs typeface="Arial" charset="0"/>
                  </a:rPr>
                  <a:t>R 0</a:t>
                </a:r>
              </a:p>
              <a:p>
                <a:pPr algn="l" defTabSz="914724">
                  <a:spcBef>
                    <a:spcPct val="0"/>
                  </a:spcBef>
                  <a:defRPr/>
                </a:pPr>
                <a:r>
                  <a:rPr lang="en-GB" sz="1000" b="0" dirty="0">
                    <a:solidFill>
                      <a:srgbClr val="FFFFFF"/>
                    </a:solidFill>
                    <a:latin typeface="Arial"/>
                    <a:cs typeface="Arial" charset="0"/>
                  </a:rPr>
                  <a:t>G 39</a:t>
                </a:r>
              </a:p>
              <a:p>
                <a:pPr algn="l" defTabSz="914724">
                  <a:spcBef>
                    <a:spcPct val="0"/>
                  </a:spcBef>
                  <a:defRPr/>
                </a:pPr>
                <a:r>
                  <a:rPr lang="en-GB" sz="1000" b="0" dirty="0">
                    <a:solidFill>
                      <a:srgbClr val="FFFFFF"/>
                    </a:solidFill>
                    <a:latin typeface="Arial"/>
                    <a:cs typeface="Arial" charset="0"/>
                  </a:rPr>
                  <a:t>B 118</a:t>
                </a:r>
              </a:p>
            </p:txBody>
          </p:sp>
        </p:grpSp>
        <p:grpSp>
          <p:nvGrpSpPr>
            <p:cNvPr id="7" name="Group 52"/>
            <p:cNvGrpSpPr>
              <a:grpSpLocks/>
            </p:cNvGrpSpPr>
            <p:nvPr userDrawn="1"/>
          </p:nvGrpSpPr>
          <p:grpSpPr bwMode="auto">
            <a:xfrm>
              <a:off x="-967887" y="1415264"/>
              <a:ext cx="464559" cy="584268"/>
              <a:chOff x="12661026" y="60066"/>
              <a:chExt cx="464559" cy="584268"/>
            </a:xfrm>
          </p:grpSpPr>
          <p:sp>
            <p:nvSpPr>
              <p:cNvPr id="20" name="Rectangle 19"/>
              <p:cNvSpPr>
                <a:spLocks noChangeArrowheads="1"/>
              </p:cNvSpPr>
              <p:nvPr userDrawn="1">
                <p:custDataLst>
                  <p:tags r:id="rId13"/>
                </p:custDataLst>
              </p:nvPr>
            </p:nvSpPr>
            <p:spPr bwMode="auto">
              <a:xfrm>
                <a:off x="12661026" y="60066"/>
                <a:ext cx="464559" cy="584268"/>
              </a:xfrm>
              <a:prstGeom prst="rect">
                <a:avLst/>
              </a:prstGeom>
              <a:solidFill>
                <a:schemeClr val="accent3"/>
              </a:solidFill>
              <a:ln w="12700" algn="ctr">
                <a:noFill/>
                <a:miter lim="800000"/>
                <a:headEnd/>
                <a:tailEnd/>
              </a:ln>
            </p:spPr>
            <p:txBody>
              <a:bodyPr wrap="none" lIns="0" tIns="0" rIns="0" bIns="0" anchor="ctr"/>
              <a:lstStyle/>
              <a:p>
                <a:pPr algn="l" defTabSz="914724">
                  <a:spcBef>
                    <a:spcPct val="0"/>
                  </a:spcBef>
                  <a:defRPr/>
                </a:pPr>
                <a:endParaRPr lang="en-GB" sz="1000" b="0" dirty="0">
                  <a:solidFill>
                    <a:srgbClr val="002776"/>
                  </a:solidFill>
                  <a:latin typeface="Arial"/>
                  <a:cs typeface="Arial" charset="0"/>
                </a:endParaRPr>
              </a:p>
            </p:txBody>
          </p:sp>
          <p:sp>
            <p:nvSpPr>
              <p:cNvPr id="21" name="Rectangle 16"/>
              <p:cNvSpPr>
                <a:spLocks noChangeArrowheads="1"/>
              </p:cNvSpPr>
              <p:nvPr userDrawn="1">
                <p:custDataLst>
                  <p:tags r:id="rId14"/>
                </p:custDataLst>
              </p:nvPr>
            </p:nvSpPr>
            <p:spPr bwMode="auto">
              <a:xfrm>
                <a:off x="12719526" y="110872"/>
                <a:ext cx="376810" cy="460429"/>
              </a:xfrm>
              <a:prstGeom prst="rect">
                <a:avLst/>
              </a:prstGeom>
              <a:noFill/>
              <a:ln w="12700" algn="ctr">
                <a:noFill/>
                <a:miter lim="800000"/>
                <a:headEnd/>
                <a:tailEnd/>
              </a:ln>
            </p:spPr>
            <p:txBody>
              <a:bodyPr wrap="none" lIns="0" tIns="0" rIns="0" bIns="0">
                <a:spAutoFit/>
              </a:bodyPr>
              <a:lstStyle/>
              <a:p>
                <a:pPr algn="l" defTabSz="914724">
                  <a:spcBef>
                    <a:spcPct val="0"/>
                  </a:spcBef>
                  <a:defRPr/>
                </a:pPr>
                <a:r>
                  <a:rPr lang="en-GB" sz="1000" b="0" dirty="0">
                    <a:solidFill>
                      <a:srgbClr val="FFFFFF"/>
                    </a:solidFill>
                    <a:latin typeface="Arial"/>
                    <a:cs typeface="Arial" charset="0"/>
                  </a:rPr>
                  <a:t>R 0</a:t>
                </a:r>
              </a:p>
              <a:p>
                <a:pPr algn="l" defTabSz="914724">
                  <a:spcBef>
                    <a:spcPct val="0"/>
                  </a:spcBef>
                  <a:defRPr/>
                </a:pPr>
                <a:r>
                  <a:rPr lang="en-GB" sz="1000" b="0" dirty="0">
                    <a:solidFill>
                      <a:srgbClr val="FFFFFF"/>
                    </a:solidFill>
                    <a:latin typeface="Arial"/>
                    <a:cs typeface="Arial" charset="0"/>
                  </a:rPr>
                  <a:t>G 161</a:t>
                </a:r>
              </a:p>
              <a:p>
                <a:pPr algn="l" defTabSz="914724">
                  <a:spcBef>
                    <a:spcPct val="0"/>
                  </a:spcBef>
                  <a:defRPr/>
                </a:pPr>
                <a:r>
                  <a:rPr lang="en-GB" sz="1000" b="0" dirty="0">
                    <a:solidFill>
                      <a:srgbClr val="FFFFFF"/>
                    </a:solidFill>
                    <a:latin typeface="Arial"/>
                    <a:cs typeface="Arial" charset="0"/>
                  </a:rPr>
                  <a:t>B 222</a:t>
                </a:r>
              </a:p>
            </p:txBody>
          </p:sp>
        </p:grpSp>
        <p:grpSp>
          <p:nvGrpSpPr>
            <p:cNvPr id="8" name="Group 53"/>
            <p:cNvGrpSpPr>
              <a:grpSpLocks/>
            </p:cNvGrpSpPr>
            <p:nvPr userDrawn="1"/>
          </p:nvGrpSpPr>
          <p:grpSpPr bwMode="auto">
            <a:xfrm>
              <a:off x="-967887" y="2031285"/>
              <a:ext cx="464559" cy="584268"/>
              <a:chOff x="12661026" y="853957"/>
              <a:chExt cx="464559" cy="584268"/>
            </a:xfrm>
          </p:grpSpPr>
          <p:sp>
            <p:nvSpPr>
              <p:cNvPr id="18" name="Rectangle 25"/>
              <p:cNvSpPr>
                <a:spLocks noChangeArrowheads="1"/>
              </p:cNvSpPr>
              <p:nvPr userDrawn="1">
                <p:custDataLst>
                  <p:tags r:id="rId11"/>
                </p:custDataLst>
              </p:nvPr>
            </p:nvSpPr>
            <p:spPr bwMode="auto">
              <a:xfrm>
                <a:off x="12661026" y="853957"/>
                <a:ext cx="464559" cy="584268"/>
              </a:xfrm>
              <a:prstGeom prst="rect">
                <a:avLst/>
              </a:prstGeom>
              <a:solidFill>
                <a:schemeClr val="accent4"/>
              </a:solidFill>
              <a:ln w="12700" algn="ctr">
                <a:noFill/>
                <a:miter lim="800000"/>
                <a:headEnd/>
                <a:tailEnd/>
              </a:ln>
            </p:spPr>
            <p:txBody>
              <a:bodyPr wrap="none" lIns="0" tIns="0" rIns="0" bIns="0" anchor="ctr"/>
              <a:lstStyle/>
              <a:p>
                <a:pPr algn="l" defTabSz="914724">
                  <a:spcBef>
                    <a:spcPct val="0"/>
                  </a:spcBef>
                  <a:defRPr/>
                </a:pPr>
                <a:endParaRPr lang="en-GB" sz="1000" b="0" dirty="0">
                  <a:solidFill>
                    <a:srgbClr val="002776"/>
                  </a:solidFill>
                  <a:latin typeface="Arial"/>
                  <a:cs typeface="Arial" charset="0"/>
                </a:endParaRPr>
              </a:p>
            </p:txBody>
          </p:sp>
          <p:sp>
            <p:nvSpPr>
              <p:cNvPr id="19" name="Rectangle 18"/>
              <p:cNvSpPr>
                <a:spLocks noChangeArrowheads="1"/>
              </p:cNvSpPr>
              <p:nvPr userDrawn="1">
                <p:custDataLst>
                  <p:tags r:id="rId12"/>
                </p:custDataLst>
              </p:nvPr>
            </p:nvSpPr>
            <p:spPr bwMode="auto">
              <a:xfrm>
                <a:off x="12719526" y="915876"/>
                <a:ext cx="376810" cy="460429"/>
              </a:xfrm>
              <a:prstGeom prst="rect">
                <a:avLst/>
              </a:prstGeom>
              <a:noFill/>
              <a:ln w="12700" algn="ctr">
                <a:noFill/>
                <a:miter lim="800000"/>
                <a:headEnd/>
                <a:tailEnd/>
              </a:ln>
            </p:spPr>
            <p:txBody>
              <a:bodyPr wrap="none" lIns="0" tIns="0" rIns="0" bIns="0">
                <a:spAutoFit/>
              </a:bodyPr>
              <a:lstStyle/>
              <a:p>
                <a:pPr algn="l" defTabSz="914724">
                  <a:spcBef>
                    <a:spcPct val="0"/>
                  </a:spcBef>
                  <a:defRPr/>
                </a:pPr>
                <a:r>
                  <a:rPr lang="en-GB" sz="1000" b="0" dirty="0">
                    <a:solidFill>
                      <a:srgbClr val="FFFFFF"/>
                    </a:solidFill>
                    <a:latin typeface="Arial"/>
                    <a:cs typeface="Arial" charset="0"/>
                  </a:rPr>
                  <a:t>R 60</a:t>
                </a:r>
              </a:p>
              <a:p>
                <a:pPr algn="l" defTabSz="914724">
                  <a:spcBef>
                    <a:spcPct val="0"/>
                  </a:spcBef>
                  <a:defRPr/>
                </a:pPr>
                <a:r>
                  <a:rPr lang="en-GB" sz="1000" b="0" dirty="0">
                    <a:solidFill>
                      <a:srgbClr val="FFFFFF"/>
                    </a:solidFill>
                    <a:latin typeface="Arial"/>
                    <a:cs typeface="Arial" charset="0"/>
                  </a:rPr>
                  <a:t>G 138</a:t>
                </a:r>
              </a:p>
              <a:p>
                <a:pPr algn="l" defTabSz="914724">
                  <a:spcBef>
                    <a:spcPct val="0"/>
                  </a:spcBef>
                  <a:defRPr/>
                </a:pPr>
                <a:r>
                  <a:rPr lang="en-GB" sz="1000" b="0" dirty="0">
                    <a:solidFill>
                      <a:srgbClr val="FFFFFF"/>
                    </a:solidFill>
                    <a:latin typeface="Arial"/>
                    <a:cs typeface="Arial" charset="0"/>
                  </a:rPr>
                  <a:t>B 46</a:t>
                </a:r>
              </a:p>
            </p:txBody>
          </p:sp>
        </p:grpSp>
        <p:grpSp>
          <p:nvGrpSpPr>
            <p:cNvPr id="9" name="Group 54"/>
            <p:cNvGrpSpPr>
              <a:grpSpLocks/>
            </p:cNvGrpSpPr>
            <p:nvPr userDrawn="1"/>
          </p:nvGrpSpPr>
          <p:grpSpPr bwMode="auto">
            <a:xfrm>
              <a:off x="-967887" y="2647307"/>
              <a:ext cx="464559" cy="585855"/>
              <a:chOff x="12661026" y="1514012"/>
              <a:chExt cx="464559" cy="585855"/>
            </a:xfrm>
          </p:grpSpPr>
          <p:sp>
            <p:nvSpPr>
              <p:cNvPr id="16" name="Rectangle 25"/>
              <p:cNvSpPr>
                <a:spLocks noChangeArrowheads="1"/>
              </p:cNvSpPr>
              <p:nvPr userDrawn="1">
                <p:custDataLst>
                  <p:tags r:id="rId9"/>
                </p:custDataLst>
              </p:nvPr>
            </p:nvSpPr>
            <p:spPr bwMode="auto">
              <a:xfrm>
                <a:off x="12661026" y="1514012"/>
                <a:ext cx="464559" cy="585855"/>
              </a:xfrm>
              <a:prstGeom prst="rect">
                <a:avLst/>
              </a:prstGeom>
              <a:solidFill>
                <a:schemeClr val="accent5"/>
              </a:solidFill>
              <a:ln w="12700" algn="ctr">
                <a:noFill/>
                <a:miter lim="800000"/>
                <a:headEnd/>
                <a:tailEnd/>
              </a:ln>
            </p:spPr>
            <p:txBody>
              <a:bodyPr wrap="none" lIns="0" tIns="0" rIns="0" bIns="0" anchor="ctr"/>
              <a:lstStyle/>
              <a:p>
                <a:pPr algn="l" defTabSz="914724">
                  <a:spcBef>
                    <a:spcPct val="0"/>
                  </a:spcBef>
                  <a:defRPr/>
                </a:pPr>
                <a:endParaRPr lang="en-GB" sz="1000" b="0" dirty="0">
                  <a:solidFill>
                    <a:srgbClr val="002776"/>
                  </a:solidFill>
                  <a:latin typeface="Arial"/>
                  <a:cs typeface="Arial" charset="0"/>
                </a:endParaRPr>
              </a:p>
            </p:txBody>
          </p:sp>
          <p:sp>
            <p:nvSpPr>
              <p:cNvPr id="17" name="Rectangle 17"/>
              <p:cNvSpPr>
                <a:spLocks noChangeArrowheads="1"/>
              </p:cNvSpPr>
              <p:nvPr userDrawn="1">
                <p:custDataLst>
                  <p:tags r:id="rId10"/>
                </p:custDataLst>
              </p:nvPr>
            </p:nvSpPr>
            <p:spPr bwMode="auto">
              <a:xfrm>
                <a:off x="12719526" y="1575931"/>
                <a:ext cx="376810" cy="462017"/>
              </a:xfrm>
              <a:prstGeom prst="rect">
                <a:avLst/>
              </a:prstGeom>
              <a:noFill/>
              <a:ln w="12700" algn="ctr">
                <a:noFill/>
                <a:miter lim="800000"/>
                <a:headEnd/>
                <a:tailEnd/>
              </a:ln>
            </p:spPr>
            <p:txBody>
              <a:bodyPr wrap="none" lIns="0" tIns="0" rIns="0" bIns="0">
                <a:spAutoFit/>
              </a:bodyPr>
              <a:lstStyle/>
              <a:p>
                <a:pPr algn="l" defTabSz="914724">
                  <a:spcBef>
                    <a:spcPct val="0"/>
                  </a:spcBef>
                  <a:defRPr/>
                </a:pPr>
                <a:r>
                  <a:rPr lang="en-GB" sz="1000" b="0" dirty="0">
                    <a:solidFill>
                      <a:srgbClr val="002776"/>
                    </a:solidFill>
                    <a:latin typeface="Arial"/>
                    <a:cs typeface="Arial" charset="0"/>
                  </a:rPr>
                  <a:t>R 114</a:t>
                </a:r>
              </a:p>
              <a:p>
                <a:pPr algn="l" defTabSz="914724">
                  <a:spcBef>
                    <a:spcPct val="0"/>
                  </a:spcBef>
                  <a:defRPr/>
                </a:pPr>
                <a:r>
                  <a:rPr lang="en-GB" sz="1000" b="0" dirty="0">
                    <a:solidFill>
                      <a:srgbClr val="002776"/>
                    </a:solidFill>
                    <a:latin typeface="Arial"/>
                    <a:cs typeface="Arial" charset="0"/>
                  </a:rPr>
                  <a:t>G 199</a:t>
                </a:r>
              </a:p>
              <a:p>
                <a:pPr algn="l" defTabSz="914724">
                  <a:spcBef>
                    <a:spcPct val="0"/>
                  </a:spcBef>
                  <a:defRPr/>
                </a:pPr>
                <a:r>
                  <a:rPr lang="en-GB" sz="1000" b="0" dirty="0">
                    <a:solidFill>
                      <a:srgbClr val="002776"/>
                    </a:solidFill>
                    <a:latin typeface="Arial"/>
                    <a:cs typeface="Arial" charset="0"/>
                  </a:rPr>
                  <a:t>B 231</a:t>
                </a:r>
              </a:p>
            </p:txBody>
          </p:sp>
        </p:grpSp>
        <p:grpSp>
          <p:nvGrpSpPr>
            <p:cNvPr id="10" name="Group 55"/>
            <p:cNvGrpSpPr>
              <a:grpSpLocks/>
            </p:cNvGrpSpPr>
            <p:nvPr userDrawn="1"/>
          </p:nvGrpSpPr>
          <p:grpSpPr bwMode="auto">
            <a:xfrm>
              <a:off x="-967887" y="3263329"/>
              <a:ext cx="464559" cy="585855"/>
              <a:chOff x="12661026" y="2334403"/>
              <a:chExt cx="464559" cy="585855"/>
            </a:xfrm>
          </p:grpSpPr>
          <p:sp>
            <p:nvSpPr>
              <p:cNvPr id="14" name="Rectangle 25"/>
              <p:cNvSpPr>
                <a:spLocks noChangeArrowheads="1"/>
              </p:cNvSpPr>
              <p:nvPr userDrawn="1">
                <p:custDataLst>
                  <p:tags r:id="rId7"/>
                </p:custDataLst>
              </p:nvPr>
            </p:nvSpPr>
            <p:spPr bwMode="auto">
              <a:xfrm>
                <a:off x="12661026" y="2334403"/>
                <a:ext cx="464559" cy="585855"/>
              </a:xfrm>
              <a:prstGeom prst="rect">
                <a:avLst/>
              </a:prstGeom>
              <a:solidFill>
                <a:schemeClr val="accent6"/>
              </a:solidFill>
              <a:ln w="12700" algn="ctr">
                <a:noFill/>
                <a:miter lim="800000"/>
                <a:headEnd/>
                <a:tailEnd/>
              </a:ln>
            </p:spPr>
            <p:txBody>
              <a:bodyPr wrap="none" lIns="0" tIns="0" rIns="0" bIns="0" anchor="ctr"/>
              <a:lstStyle/>
              <a:p>
                <a:pPr algn="l" defTabSz="914724">
                  <a:spcBef>
                    <a:spcPct val="0"/>
                  </a:spcBef>
                  <a:defRPr/>
                </a:pPr>
                <a:endParaRPr lang="en-GB" sz="1000" b="0" dirty="0">
                  <a:solidFill>
                    <a:srgbClr val="002776"/>
                  </a:solidFill>
                  <a:latin typeface="Arial"/>
                  <a:cs typeface="Arial" charset="0"/>
                </a:endParaRPr>
              </a:p>
            </p:txBody>
          </p:sp>
          <p:sp>
            <p:nvSpPr>
              <p:cNvPr id="15" name="Rectangle 19"/>
              <p:cNvSpPr>
                <a:spLocks noChangeArrowheads="1"/>
              </p:cNvSpPr>
              <p:nvPr userDrawn="1">
                <p:custDataLst>
                  <p:tags r:id="rId8"/>
                </p:custDataLst>
              </p:nvPr>
            </p:nvSpPr>
            <p:spPr bwMode="auto">
              <a:xfrm>
                <a:off x="12719526" y="2396322"/>
                <a:ext cx="376810" cy="462017"/>
              </a:xfrm>
              <a:prstGeom prst="rect">
                <a:avLst/>
              </a:prstGeom>
              <a:noFill/>
              <a:ln w="12700" algn="ctr">
                <a:noFill/>
                <a:miter lim="800000"/>
                <a:headEnd/>
                <a:tailEnd/>
              </a:ln>
            </p:spPr>
            <p:txBody>
              <a:bodyPr wrap="none" lIns="0" tIns="0" rIns="0" bIns="0">
                <a:spAutoFit/>
              </a:bodyPr>
              <a:lstStyle/>
              <a:p>
                <a:pPr algn="l" defTabSz="914724">
                  <a:spcBef>
                    <a:spcPct val="0"/>
                  </a:spcBef>
                  <a:defRPr/>
                </a:pPr>
                <a:r>
                  <a:rPr lang="en-GB" sz="1000" b="0" dirty="0">
                    <a:solidFill>
                      <a:srgbClr val="002776"/>
                    </a:solidFill>
                    <a:latin typeface="Arial"/>
                    <a:cs typeface="Arial" charset="0"/>
                  </a:rPr>
                  <a:t>R 201</a:t>
                </a:r>
              </a:p>
              <a:p>
                <a:pPr algn="l" defTabSz="914724">
                  <a:spcBef>
                    <a:spcPct val="0"/>
                  </a:spcBef>
                  <a:defRPr/>
                </a:pPr>
                <a:r>
                  <a:rPr lang="en-GB" sz="1000" b="0" dirty="0">
                    <a:solidFill>
                      <a:srgbClr val="002776"/>
                    </a:solidFill>
                    <a:latin typeface="Arial"/>
                    <a:cs typeface="Arial" charset="0"/>
                  </a:rPr>
                  <a:t>G 221</a:t>
                </a:r>
              </a:p>
              <a:p>
                <a:pPr algn="l" defTabSz="914724">
                  <a:spcBef>
                    <a:spcPct val="0"/>
                  </a:spcBef>
                  <a:defRPr/>
                </a:pPr>
                <a:r>
                  <a:rPr lang="en-GB" sz="1000" b="0" dirty="0">
                    <a:solidFill>
                      <a:srgbClr val="002776"/>
                    </a:solidFill>
                    <a:latin typeface="Arial"/>
                    <a:cs typeface="Arial" charset="0"/>
                  </a:rPr>
                  <a:t>B 3</a:t>
                </a:r>
              </a:p>
            </p:txBody>
          </p:sp>
        </p:grpSp>
        <p:grpSp>
          <p:nvGrpSpPr>
            <p:cNvPr id="11" name="Group 51"/>
            <p:cNvGrpSpPr>
              <a:grpSpLocks/>
            </p:cNvGrpSpPr>
            <p:nvPr userDrawn="1"/>
          </p:nvGrpSpPr>
          <p:grpSpPr bwMode="auto">
            <a:xfrm>
              <a:off x="-967887" y="799242"/>
              <a:ext cx="464559" cy="584268"/>
              <a:chOff x="12661026" y="-639434"/>
              <a:chExt cx="464559" cy="584268"/>
            </a:xfrm>
          </p:grpSpPr>
          <p:sp>
            <p:nvSpPr>
              <p:cNvPr id="12" name="Rectangle 25"/>
              <p:cNvSpPr>
                <a:spLocks noChangeArrowheads="1"/>
              </p:cNvSpPr>
              <p:nvPr userDrawn="1">
                <p:custDataLst>
                  <p:tags r:id="rId5"/>
                </p:custDataLst>
              </p:nvPr>
            </p:nvSpPr>
            <p:spPr bwMode="auto">
              <a:xfrm>
                <a:off x="12661026" y="-639434"/>
                <a:ext cx="464559" cy="584268"/>
              </a:xfrm>
              <a:prstGeom prst="rect">
                <a:avLst/>
              </a:prstGeom>
              <a:solidFill>
                <a:schemeClr val="accent2"/>
              </a:solidFill>
              <a:ln w="12700" algn="ctr">
                <a:noFill/>
                <a:miter lim="800000"/>
                <a:headEnd/>
                <a:tailEnd/>
              </a:ln>
            </p:spPr>
            <p:txBody>
              <a:bodyPr wrap="none" lIns="0" tIns="0" rIns="0" bIns="0" anchor="ctr"/>
              <a:lstStyle/>
              <a:p>
                <a:pPr algn="l" defTabSz="914724">
                  <a:spcBef>
                    <a:spcPct val="0"/>
                  </a:spcBef>
                  <a:defRPr/>
                </a:pPr>
                <a:endParaRPr lang="en-GB" sz="1000" b="0" dirty="0">
                  <a:solidFill>
                    <a:srgbClr val="002776"/>
                  </a:solidFill>
                  <a:latin typeface="Arial"/>
                  <a:cs typeface="Arial" charset="0"/>
                </a:endParaRPr>
              </a:p>
            </p:txBody>
          </p:sp>
          <p:sp>
            <p:nvSpPr>
              <p:cNvPr id="13" name="Rectangle 15"/>
              <p:cNvSpPr>
                <a:spLocks noChangeArrowheads="1"/>
              </p:cNvSpPr>
              <p:nvPr userDrawn="1">
                <p:custDataLst>
                  <p:tags r:id="rId6"/>
                </p:custDataLst>
              </p:nvPr>
            </p:nvSpPr>
            <p:spPr bwMode="auto">
              <a:xfrm>
                <a:off x="12719526" y="-577515"/>
                <a:ext cx="376810" cy="460429"/>
              </a:xfrm>
              <a:prstGeom prst="rect">
                <a:avLst/>
              </a:prstGeom>
              <a:noFill/>
              <a:ln w="12700" algn="ctr">
                <a:noFill/>
                <a:miter lim="800000"/>
                <a:headEnd/>
                <a:tailEnd/>
              </a:ln>
            </p:spPr>
            <p:txBody>
              <a:bodyPr wrap="none" lIns="0" tIns="0" rIns="0" bIns="0">
                <a:spAutoFit/>
              </a:bodyPr>
              <a:lstStyle/>
              <a:p>
                <a:pPr algn="l" defTabSz="914724">
                  <a:spcBef>
                    <a:spcPct val="0"/>
                  </a:spcBef>
                  <a:defRPr/>
                </a:pPr>
                <a:r>
                  <a:rPr lang="en-GB" sz="1000" b="0" dirty="0">
                    <a:solidFill>
                      <a:srgbClr val="FFFFFF"/>
                    </a:solidFill>
                    <a:latin typeface="Arial"/>
                    <a:cs typeface="Arial" charset="0"/>
                  </a:rPr>
                  <a:t>R 146</a:t>
                </a:r>
              </a:p>
              <a:p>
                <a:pPr algn="l" defTabSz="914724">
                  <a:spcBef>
                    <a:spcPct val="0"/>
                  </a:spcBef>
                  <a:defRPr/>
                </a:pPr>
                <a:r>
                  <a:rPr lang="en-GB" sz="1000" b="0" dirty="0">
                    <a:solidFill>
                      <a:srgbClr val="FFFFFF"/>
                    </a:solidFill>
                    <a:latin typeface="Arial"/>
                    <a:cs typeface="Arial" charset="0"/>
                  </a:rPr>
                  <a:t>G 212</a:t>
                </a:r>
              </a:p>
              <a:p>
                <a:pPr algn="l" defTabSz="914724">
                  <a:spcBef>
                    <a:spcPct val="0"/>
                  </a:spcBef>
                  <a:defRPr/>
                </a:pPr>
                <a:r>
                  <a:rPr lang="en-GB" sz="1000" b="0" dirty="0">
                    <a:solidFill>
                      <a:srgbClr val="FFFFFF"/>
                    </a:solidFill>
                    <a:latin typeface="Arial"/>
                    <a:cs typeface="Arial" charset="0"/>
                  </a:rPr>
                  <a:t>B 0</a:t>
                </a:r>
              </a:p>
            </p:txBody>
          </p:sp>
        </p:grpSp>
      </p:grpSp>
      <p:graphicFrame>
        <p:nvGraphicFramePr>
          <p:cNvPr id="24" name="AutoShape 7"/>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036" name="think-cell Slide" r:id="rId18" imgW="0" imgH="0" progId="">
                  <p:embed/>
                </p:oleObj>
              </mc:Choice>
              <mc:Fallback>
                <p:oleObj name="think-cell Slide" r:id="rId18"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5" name="Picture 5" descr="DEL_PRI_RGB"/>
          <p:cNvPicPr>
            <a:picLocks noChangeArrowheads="1"/>
          </p:cNvPicPr>
          <p:nvPr userDrawn="1"/>
        </p:nvPicPr>
        <p:blipFill>
          <a:blip r:embed="rId19" cstate="print"/>
          <a:srcRect l="7785" t="27351" r="9871" b="25598"/>
          <a:stretch>
            <a:fillRect/>
          </a:stretch>
        </p:blipFill>
        <p:spPr bwMode="auto">
          <a:xfrm>
            <a:off x="315913" y="2873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a:lstStyle>
            <a:lvl1pPr marL="0" indent="0" eaLnBrk="1" hangingPunct="1">
              <a:lnSpc>
                <a:spcPct val="106000"/>
              </a:lnSpc>
              <a:spcBef>
                <a:spcPct val="15000"/>
              </a:spcBef>
              <a:buFont typeface="Wingdings 2" pitchFamily="18" charset="2"/>
              <a:buNone/>
              <a:defRPr b="1" smtClean="0"/>
            </a:lvl1pPr>
          </a:lstStyle>
          <a:p>
            <a:r>
              <a:rPr lang="en-US" noProof="0" smtClean="0"/>
              <a:t>Click to edit Master subtitle style</a:t>
            </a:r>
            <a:endParaRPr lang="en-US" noProof="0"/>
          </a:p>
        </p:txBody>
      </p:sp>
      <p:sp>
        <p:nvSpPr>
          <p:cNvPr id="110" name="Title Placeholder 1"/>
          <p:cNvSpPr>
            <a:spLocks noGrp="1"/>
          </p:cNvSpPr>
          <p:nvPr>
            <p:ph type="ctrTitle"/>
          </p:nvPr>
        </p:nvSpPr>
        <p:spPr>
          <a:xfrm>
            <a:off x="1142820" y="2886327"/>
            <a:ext cx="3996982" cy="1128762"/>
          </a:xfrm>
          <a:prstGeom prst="rect">
            <a:avLst/>
          </a:prstGeom>
        </p:spPr>
        <p:txBody>
          <a:bodyPr/>
          <a:lstStyle>
            <a:lvl1pPr marL="0" marR="0" indent="0" defTabSz="957998" rtl="0" eaLnBrk="0" fontAlgn="base" latinLnBrk="0" hangingPunct="0">
              <a:lnSpc>
                <a:spcPts val="2800"/>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extLst>
      <p:ext uri="{BB962C8B-B14F-4D97-AF65-F5344CB8AC3E}">
        <p14:creationId xmlns:p14="http://schemas.microsoft.com/office/powerpoint/2010/main" val="3626419504"/>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graphicFrame>
        <p:nvGraphicFramePr>
          <p:cNvPr id="4" name="AutoShape 7"/>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2060" name="think-cell Slide" r:id="rId7" imgW="0" imgH="0" progId="">
                  <p:embed/>
                </p:oleObj>
              </mc:Choice>
              <mc:Fallback>
                <p:oleObj name="think-cell Slide" r:id="rId7"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5"/>
          <p:cNvSpPr>
            <a:spLocks noChangeArrowheads="1"/>
          </p:cNvSpPr>
          <p:nvPr>
            <p:custDataLst>
              <p:tags r:id="rId3"/>
            </p:custDataLst>
          </p:nvPr>
        </p:nvSpPr>
        <p:spPr bwMode="auto">
          <a:xfrm>
            <a:off x="6397625" y="6443663"/>
            <a:ext cx="2312988" cy="142875"/>
          </a:xfrm>
          <a:prstGeom prst="rect">
            <a:avLst/>
          </a:prstGeom>
          <a:noFill/>
          <a:ln w="25400" algn="ctr">
            <a:noFill/>
            <a:miter lim="800000"/>
            <a:headEnd/>
            <a:tailEnd/>
          </a:ln>
        </p:spPr>
        <p:txBody>
          <a:bodyPr lIns="0" tIns="0" rIns="0" bIns="0"/>
          <a:lstStyle/>
          <a:p>
            <a:pPr algn="r" defTabSz="957998">
              <a:lnSpc>
                <a:spcPts val="1128"/>
              </a:lnSpc>
              <a:spcBef>
                <a:spcPct val="0"/>
              </a:spcBef>
              <a:defRPr/>
            </a:pPr>
            <a:r>
              <a:rPr lang="en-US" sz="800" b="0" dirty="0">
                <a:solidFill>
                  <a:srgbClr val="002776"/>
                </a:solidFill>
                <a:latin typeface="Arial"/>
                <a:cs typeface="Arial" charset="0"/>
              </a:rPr>
              <a:t>© 2010 Deloitte Touche Tohmatsu</a:t>
            </a:r>
          </a:p>
        </p:txBody>
      </p:sp>
      <p:sp>
        <p:nvSpPr>
          <p:cNvPr id="6" name="Title Placeholder 1"/>
          <p:cNvSpPr>
            <a:spLocks noGrp="1"/>
          </p:cNvSpPr>
          <p:nvPr>
            <p:ph type="title"/>
          </p:nvPr>
        </p:nvSpPr>
        <p:spPr bwMode="auto">
          <a:xfrm>
            <a:off x="396875" y="300038"/>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4" y="1123950"/>
            <a:ext cx="8350251" cy="5186363"/>
          </a:xfrm>
          <a:prstGeom prst="rect">
            <a:avLst/>
          </a:prstGeom>
        </p:spPr>
        <p:txBody>
          <a:bodyPr/>
          <a:lstStyle>
            <a:lvl1pPr>
              <a:lnSpc>
                <a:spcPct val="106000"/>
              </a:lnSpc>
              <a:spcBef>
                <a:spcPts val="1344"/>
              </a:spcBef>
              <a:spcAft>
                <a:spcPts val="0"/>
              </a:spcAft>
              <a:defRPr/>
            </a:lvl1pPr>
            <a:lvl3pPr>
              <a:lnSpc>
                <a:spcPct val="106000"/>
              </a:lnSpc>
              <a:spcBef>
                <a:spcPts val="576"/>
              </a:spcBef>
              <a:spcAft>
                <a:spcPts val="0"/>
              </a:spcAft>
              <a:defRPr/>
            </a:lvl3pPr>
            <a:lvl4pPr>
              <a:lnSpc>
                <a:spcPct val="106000"/>
              </a:lnSpc>
              <a:spcBef>
                <a:spcPts val="576"/>
              </a:spcBef>
              <a:spcAft>
                <a:spcPts val="0"/>
              </a:spcAft>
              <a:defRPr/>
            </a:lvl4pPr>
            <a:lvl5pPr>
              <a:lnSpc>
                <a:spcPct val="106000"/>
              </a:lnSpc>
              <a:spcBef>
                <a:spcPts val="576"/>
              </a:spcBef>
              <a:spcAft>
                <a:spcPts val="0"/>
              </a:spcAft>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7" name="Slide Number Placeholder 3"/>
          <p:cNvSpPr>
            <a:spLocks noGrp="1"/>
          </p:cNvSpPr>
          <p:nvPr>
            <p:ph type="sldNum" sz="quarter" idx="13"/>
            <p:custDataLst>
              <p:tags r:id="rId4"/>
            </p:custDataLst>
          </p:nvPr>
        </p:nvSpPr>
        <p:spPr>
          <a:xfrm>
            <a:off x="415925" y="6443663"/>
            <a:ext cx="282575" cy="142875"/>
          </a:xfrm>
          <a:prstGeom prst="rect">
            <a:avLst/>
          </a:prstGeom>
        </p:spPr>
        <p:txBody>
          <a:bodyPr/>
          <a:lstStyle>
            <a:lvl1pPr fontAlgn="auto">
              <a:spcBef>
                <a:spcPts val="0"/>
              </a:spcBef>
              <a:spcAft>
                <a:spcPts val="0"/>
              </a:spcAft>
              <a:defRPr>
                <a:solidFill>
                  <a:srgbClr val="002776"/>
                </a:solidFill>
                <a:latin typeface="+mn-lt"/>
                <a:cs typeface="+mn-cs"/>
              </a:defRPr>
            </a:lvl1pPr>
          </a:lstStyle>
          <a:p>
            <a:pPr algn="l">
              <a:defRPr/>
            </a:pPr>
            <a:fld id="{F5EAE9DA-1B71-4211-A0B9-29A7C2853438}" type="slidenum">
              <a:rPr lang="en-US" sz="1800" b="0"/>
              <a:pPr algn="l">
                <a:defRPr/>
              </a:pPr>
              <a:t>‹#›</a:t>
            </a:fld>
            <a:endParaRPr lang="en-US" sz="1800" b="0" dirty="0"/>
          </a:p>
        </p:txBody>
      </p:sp>
      <p:sp>
        <p:nvSpPr>
          <p:cNvPr id="8" name="Footer Placeholder 4"/>
          <p:cNvSpPr>
            <a:spLocks noGrp="1"/>
          </p:cNvSpPr>
          <p:nvPr>
            <p:ph type="ftr" sz="quarter" idx="14"/>
            <p:custDataLst>
              <p:tags r:id="rId5"/>
            </p:custDataLst>
          </p:nvPr>
        </p:nvSpPr>
        <p:spPr>
          <a:xfrm>
            <a:off x="771525" y="6443663"/>
            <a:ext cx="4318000" cy="142875"/>
          </a:xfrm>
          <a:prstGeom prst="rect">
            <a:avLst/>
          </a:prstGeom>
        </p:spPr>
        <p:txBody>
          <a:bodyPr/>
          <a:lstStyle>
            <a:lvl1pPr fontAlgn="auto">
              <a:spcBef>
                <a:spcPts val="0"/>
              </a:spcBef>
              <a:spcAft>
                <a:spcPts val="0"/>
              </a:spcAft>
              <a:defRPr>
                <a:solidFill>
                  <a:srgbClr val="002776"/>
                </a:solidFill>
                <a:latin typeface="+mn-lt"/>
                <a:cs typeface="+mn-cs"/>
              </a:defRPr>
            </a:lvl1pPr>
          </a:lstStyle>
          <a:p>
            <a:pPr algn="l">
              <a:defRPr/>
            </a:pPr>
            <a:endParaRPr lang="en-US" sz="1800" b="0" dirty="0"/>
          </a:p>
        </p:txBody>
      </p:sp>
    </p:spTree>
    <p:extLst>
      <p:ext uri="{BB962C8B-B14F-4D97-AF65-F5344CB8AC3E}">
        <p14:creationId xmlns:p14="http://schemas.microsoft.com/office/powerpoint/2010/main" val="171180240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7"/>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3084" name="think-cell Slide" r:id="rId7" imgW="0" imgH="0" progId="">
                  <p:embed/>
                </p:oleObj>
              </mc:Choice>
              <mc:Fallback>
                <p:oleObj name="think-cell Slide" r:id="rId7"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a:spLocks noChangeArrowheads="1"/>
          </p:cNvSpPr>
          <p:nvPr>
            <p:custDataLst>
              <p:tags r:id="rId3"/>
            </p:custDataLst>
          </p:nvPr>
        </p:nvSpPr>
        <p:spPr bwMode="auto">
          <a:xfrm>
            <a:off x="6397625" y="6443663"/>
            <a:ext cx="2312988" cy="142875"/>
          </a:xfrm>
          <a:prstGeom prst="rect">
            <a:avLst/>
          </a:prstGeom>
          <a:noFill/>
          <a:ln w="25400" algn="ctr">
            <a:noFill/>
            <a:miter lim="800000"/>
            <a:headEnd/>
            <a:tailEnd/>
          </a:ln>
        </p:spPr>
        <p:txBody>
          <a:bodyPr lIns="0" tIns="0" rIns="0" bIns="0"/>
          <a:lstStyle/>
          <a:p>
            <a:pPr algn="r" defTabSz="957998">
              <a:lnSpc>
                <a:spcPts val="1128"/>
              </a:lnSpc>
              <a:spcBef>
                <a:spcPct val="0"/>
              </a:spcBef>
              <a:defRPr/>
            </a:pPr>
            <a:r>
              <a:rPr lang="en-US" sz="800" b="0" dirty="0">
                <a:solidFill>
                  <a:srgbClr val="002776"/>
                </a:solidFill>
                <a:latin typeface="Arial"/>
                <a:cs typeface="Arial" charset="0"/>
              </a:rPr>
              <a:t>© 2010 Deloitte Touche Tohmatsu</a:t>
            </a:r>
          </a:p>
        </p:txBody>
      </p:sp>
      <p:sp>
        <p:nvSpPr>
          <p:cNvPr id="8" name="Title Placeholder 1"/>
          <p:cNvSpPr>
            <a:spLocks noGrp="1"/>
          </p:cNvSpPr>
          <p:nvPr>
            <p:ph type="title"/>
          </p:nvPr>
        </p:nvSpPr>
        <p:spPr bwMode="auto">
          <a:xfrm>
            <a:off x="396875" y="300038"/>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0" name="Text Placeholder 9"/>
          <p:cNvSpPr>
            <a:spLocks noGrp="1"/>
          </p:cNvSpPr>
          <p:nvPr>
            <p:ph type="body" sz="quarter" idx="12"/>
          </p:nvPr>
        </p:nvSpPr>
        <p:spPr>
          <a:xfrm>
            <a:off x="396875" y="1123950"/>
            <a:ext cx="4043242" cy="5186363"/>
          </a:xfrm>
          <a:prstGeom prst="rect">
            <a:avLst/>
          </a:prstGeo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11"/>
          <p:cNvSpPr>
            <a:spLocks noGrp="1"/>
          </p:cNvSpPr>
          <p:nvPr>
            <p:ph type="body" sz="quarter" idx="13"/>
          </p:nvPr>
        </p:nvSpPr>
        <p:spPr>
          <a:xfrm>
            <a:off x="4704325" y="1123950"/>
            <a:ext cx="4042800" cy="5186363"/>
          </a:xfrm>
          <a:prstGeom prst="rect">
            <a:avLst/>
          </a:prstGeo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Slide Number Placeholder 9"/>
          <p:cNvSpPr>
            <a:spLocks noGrp="1"/>
          </p:cNvSpPr>
          <p:nvPr>
            <p:ph type="sldNum" sz="quarter" idx="14"/>
            <p:custDataLst>
              <p:tags r:id="rId4"/>
            </p:custDataLst>
          </p:nvPr>
        </p:nvSpPr>
        <p:spPr>
          <a:xfrm>
            <a:off x="415925" y="6443663"/>
            <a:ext cx="282575" cy="142875"/>
          </a:xfrm>
          <a:prstGeom prst="rect">
            <a:avLst/>
          </a:prstGeom>
        </p:spPr>
        <p:txBody>
          <a:bodyPr/>
          <a:lstStyle>
            <a:lvl1pPr fontAlgn="auto">
              <a:spcBef>
                <a:spcPts val="0"/>
              </a:spcBef>
              <a:spcAft>
                <a:spcPts val="0"/>
              </a:spcAft>
              <a:defRPr>
                <a:solidFill>
                  <a:srgbClr val="002776"/>
                </a:solidFill>
                <a:latin typeface="+mn-lt"/>
                <a:cs typeface="+mn-cs"/>
              </a:defRPr>
            </a:lvl1pPr>
          </a:lstStyle>
          <a:p>
            <a:pPr algn="l">
              <a:defRPr/>
            </a:pPr>
            <a:fld id="{DDA5B421-485B-4356-8918-715B5E537845}" type="slidenum">
              <a:rPr lang="en-US" sz="1800" b="0"/>
              <a:pPr algn="l">
                <a:defRPr/>
              </a:pPr>
              <a:t>‹#›</a:t>
            </a:fld>
            <a:endParaRPr lang="en-US" sz="1800" b="0" dirty="0"/>
          </a:p>
        </p:txBody>
      </p:sp>
      <p:sp>
        <p:nvSpPr>
          <p:cNvPr id="9" name="Footer Placeholder 10"/>
          <p:cNvSpPr>
            <a:spLocks noGrp="1"/>
          </p:cNvSpPr>
          <p:nvPr>
            <p:ph type="ftr" sz="quarter" idx="15"/>
            <p:custDataLst>
              <p:tags r:id="rId5"/>
            </p:custDataLst>
          </p:nvPr>
        </p:nvSpPr>
        <p:spPr>
          <a:xfrm>
            <a:off x="771525" y="6443663"/>
            <a:ext cx="4318000" cy="142875"/>
          </a:xfrm>
          <a:prstGeom prst="rect">
            <a:avLst/>
          </a:prstGeom>
        </p:spPr>
        <p:txBody>
          <a:bodyPr/>
          <a:lstStyle>
            <a:lvl1pPr fontAlgn="auto">
              <a:spcBef>
                <a:spcPts val="0"/>
              </a:spcBef>
              <a:spcAft>
                <a:spcPts val="0"/>
              </a:spcAft>
              <a:defRPr>
                <a:solidFill>
                  <a:srgbClr val="002776"/>
                </a:solidFill>
                <a:latin typeface="+mn-lt"/>
                <a:cs typeface="+mn-cs"/>
              </a:defRPr>
            </a:lvl1pPr>
          </a:lstStyle>
          <a:p>
            <a:pPr algn="l">
              <a:defRPr/>
            </a:pPr>
            <a:endParaRPr lang="en-US" sz="1800" b="0" dirty="0"/>
          </a:p>
        </p:txBody>
      </p:sp>
    </p:spTree>
    <p:extLst>
      <p:ext uri="{BB962C8B-B14F-4D97-AF65-F5344CB8AC3E}">
        <p14:creationId xmlns:p14="http://schemas.microsoft.com/office/powerpoint/2010/main" val="8797093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graphicFrame>
        <p:nvGraphicFramePr>
          <p:cNvPr id="3" name="AutoShape 7"/>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4108" name="think-cell Slide" r:id="rId7" imgW="0" imgH="0" progId="">
                  <p:embed/>
                </p:oleObj>
              </mc:Choice>
              <mc:Fallback>
                <p:oleObj name="think-cell Slide" r:id="rId7"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5"/>
          <p:cNvSpPr>
            <a:spLocks noChangeArrowheads="1"/>
          </p:cNvSpPr>
          <p:nvPr>
            <p:custDataLst>
              <p:tags r:id="rId3"/>
            </p:custDataLst>
          </p:nvPr>
        </p:nvSpPr>
        <p:spPr bwMode="auto">
          <a:xfrm>
            <a:off x="6397625" y="6443663"/>
            <a:ext cx="2312988" cy="142875"/>
          </a:xfrm>
          <a:prstGeom prst="rect">
            <a:avLst/>
          </a:prstGeom>
          <a:noFill/>
          <a:ln w="25400" algn="ctr">
            <a:noFill/>
            <a:miter lim="800000"/>
            <a:headEnd/>
            <a:tailEnd/>
          </a:ln>
        </p:spPr>
        <p:txBody>
          <a:bodyPr lIns="0" tIns="0" rIns="0" bIns="0"/>
          <a:lstStyle/>
          <a:p>
            <a:pPr algn="r" defTabSz="957998">
              <a:lnSpc>
                <a:spcPts val="1128"/>
              </a:lnSpc>
              <a:spcBef>
                <a:spcPct val="0"/>
              </a:spcBef>
              <a:defRPr/>
            </a:pPr>
            <a:r>
              <a:rPr lang="en-US" sz="800" b="0" dirty="0">
                <a:solidFill>
                  <a:srgbClr val="002776"/>
                </a:solidFill>
                <a:latin typeface="Arial"/>
                <a:cs typeface="Arial" charset="0"/>
              </a:rPr>
              <a:t>© 2010 Deloitte Touche Tohmatsu</a:t>
            </a:r>
          </a:p>
        </p:txBody>
      </p:sp>
      <p:sp>
        <p:nvSpPr>
          <p:cNvPr id="2" name="Title 1"/>
          <p:cNvSpPr>
            <a:spLocks noGrp="1"/>
          </p:cNvSpPr>
          <p:nvPr>
            <p:ph type="title"/>
          </p:nvPr>
        </p:nvSpPr>
        <p:spPr/>
        <p:txBody>
          <a:bodyPr/>
          <a:lstStyle/>
          <a:p>
            <a:r>
              <a:rPr lang="en-US" noProof="0" smtClean="0"/>
              <a:t>Click to edit Master title style</a:t>
            </a:r>
            <a:endParaRPr lang="en-US" noProof="0" dirty="0"/>
          </a:p>
        </p:txBody>
      </p:sp>
      <p:sp>
        <p:nvSpPr>
          <p:cNvPr id="5" name="Slide Number Placeholder 2"/>
          <p:cNvSpPr>
            <a:spLocks noGrp="1"/>
          </p:cNvSpPr>
          <p:nvPr>
            <p:ph type="sldNum" sz="quarter" idx="10"/>
            <p:custDataLst>
              <p:tags r:id="rId4"/>
            </p:custDataLst>
          </p:nvPr>
        </p:nvSpPr>
        <p:spPr>
          <a:xfrm>
            <a:off x="415925" y="6443663"/>
            <a:ext cx="282575" cy="142875"/>
          </a:xfrm>
          <a:prstGeom prst="rect">
            <a:avLst/>
          </a:prstGeom>
        </p:spPr>
        <p:txBody>
          <a:bodyPr/>
          <a:lstStyle>
            <a:lvl1pPr fontAlgn="auto">
              <a:spcBef>
                <a:spcPts val="0"/>
              </a:spcBef>
              <a:spcAft>
                <a:spcPts val="0"/>
              </a:spcAft>
              <a:defRPr>
                <a:solidFill>
                  <a:srgbClr val="002776"/>
                </a:solidFill>
                <a:latin typeface="+mn-lt"/>
                <a:cs typeface="+mn-cs"/>
              </a:defRPr>
            </a:lvl1pPr>
          </a:lstStyle>
          <a:p>
            <a:pPr algn="l">
              <a:defRPr/>
            </a:pPr>
            <a:fld id="{554AEA95-87D0-4D2D-9A81-0706BA2CCA9E}" type="slidenum">
              <a:rPr lang="en-US" sz="1800" b="0"/>
              <a:pPr algn="l">
                <a:defRPr/>
              </a:pPr>
              <a:t>‹#›</a:t>
            </a:fld>
            <a:endParaRPr lang="en-US" sz="1800" b="0" dirty="0"/>
          </a:p>
        </p:txBody>
      </p:sp>
      <p:sp>
        <p:nvSpPr>
          <p:cNvPr id="6" name="Footer Placeholder 3"/>
          <p:cNvSpPr>
            <a:spLocks noGrp="1"/>
          </p:cNvSpPr>
          <p:nvPr>
            <p:ph type="ftr" sz="quarter" idx="11"/>
            <p:custDataLst>
              <p:tags r:id="rId5"/>
            </p:custDataLst>
          </p:nvPr>
        </p:nvSpPr>
        <p:spPr>
          <a:xfrm>
            <a:off x="771525" y="6443663"/>
            <a:ext cx="4318000" cy="142875"/>
          </a:xfrm>
          <a:prstGeom prst="rect">
            <a:avLst/>
          </a:prstGeom>
        </p:spPr>
        <p:txBody>
          <a:bodyPr/>
          <a:lstStyle>
            <a:lvl1pPr fontAlgn="auto">
              <a:spcBef>
                <a:spcPts val="0"/>
              </a:spcBef>
              <a:spcAft>
                <a:spcPts val="0"/>
              </a:spcAft>
              <a:defRPr>
                <a:solidFill>
                  <a:srgbClr val="002776"/>
                </a:solidFill>
                <a:latin typeface="+mn-lt"/>
                <a:cs typeface="+mn-cs"/>
              </a:defRPr>
            </a:lvl1pPr>
          </a:lstStyle>
          <a:p>
            <a:pPr algn="l">
              <a:defRPr/>
            </a:pPr>
            <a:endParaRPr lang="en-US" sz="1800" b="0" dirty="0"/>
          </a:p>
        </p:txBody>
      </p:sp>
    </p:spTree>
    <p:extLst>
      <p:ext uri="{BB962C8B-B14F-4D97-AF65-F5344CB8AC3E}">
        <p14:creationId xmlns:p14="http://schemas.microsoft.com/office/powerpoint/2010/main" val="92063913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7"/>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132"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ctrTitle"/>
          </p:nvPr>
        </p:nvSpPr>
        <p:spPr>
          <a:xfrm>
            <a:off x="1142820" y="2618107"/>
            <a:ext cx="6207508" cy="1278000"/>
          </a:xfrm>
        </p:spPr>
        <p:txBody>
          <a:bodyPr/>
          <a:lstStyle>
            <a:lvl1pPr>
              <a:lnSpc>
                <a:spcPts val="4888"/>
              </a:lnSpc>
              <a:defRPr sz="5200" b="0">
                <a:solidFill>
                  <a:schemeClr val="tx2"/>
                </a:solidFill>
                <a:latin typeface="Times New Roman" pitchFamily="18" charset="0"/>
              </a:defRPr>
            </a:lvl1pPr>
          </a:lstStyle>
          <a:p>
            <a:r>
              <a:rPr lang="en-US" noProof="0" smtClean="0"/>
              <a:t>Click to edit Master title style</a:t>
            </a:r>
            <a:endParaRPr lang="en-US" noProof="0"/>
          </a:p>
        </p:txBody>
      </p:sp>
    </p:spTree>
    <p:extLst>
      <p:ext uri="{BB962C8B-B14F-4D97-AF65-F5344CB8AC3E}">
        <p14:creationId xmlns:p14="http://schemas.microsoft.com/office/powerpoint/2010/main" val="452279081"/>
      </p:ext>
    </p:extLst>
  </p:cSld>
  <p:clrMapOvr>
    <a:overrideClrMapping bg1="dk1" tx1="lt1" bg2="dk2" tx2="lt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154113"/>
            <a:ext cx="8330184" cy="5132387"/>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36330070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Divider 2">
    <p:bg>
      <p:bgPr>
        <a:solidFill>
          <a:schemeClr val="accent2"/>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auto">
          <a:xfrm>
            <a:off x="411480" y="2824696"/>
            <a:ext cx="8330184" cy="680186"/>
          </a:xfrm>
          <a:prstGeom prst="rect">
            <a:avLst/>
          </a:prstGeom>
        </p:spPr>
        <p:txBody>
          <a:bodyPr anchor="b" anchorCtr="0">
            <a:spAutoFit/>
          </a:bodyPr>
          <a:lstStyle>
            <a:lvl1pPr>
              <a:lnSpc>
                <a:spcPct val="85000"/>
              </a:lnSpc>
              <a:defRPr sz="5200" b="0" smtClean="0">
                <a:solidFill>
                  <a:schemeClr val="bg1"/>
                </a:solidFill>
                <a:latin typeface="Times New Roman" pitchFamily="18" charset="0"/>
                <a:cs typeface="Times New Roman" pitchFamily="18" charset="0"/>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auto">
          <a:xfrm>
            <a:off x="411480" y="3694176"/>
            <a:ext cx="8330184" cy="492443"/>
          </a:xfrm>
          <a:prstGeom prst="rect">
            <a:avLst/>
          </a:prstGeom>
        </p:spPr>
        <p:txBody>
          <a:bodyPr>
            <a:spAutoFit/>
          </a:bodyPr>
          <a:lstStyle>
            <a:lvl1pPr>
              <a:lnSpc>
                <a:spcPct val="100000"/>
              </a:lnSpc>
              <a:defRPr sz="3200" b="0" smtClean="0">
                <a:solidFill>
                  <a:schemeClr val="bg1"/>
                </a:solidFill>
                <a:latin typeface="Arial" pitchFamily="34" charset="0"/>
              </a:defRPr>
            </a:lvl1pPr>
          </a:lstStyle>
          <a:p>
            <a:r>
              <a:rPr lang="en-US" smtClean="0"/>
              <a:t>Click to edit Master subtitle style</a:t>
            </a:r>
            <a:endParaRPr smtClean="0"/>
          </a:p>
        </p:txBody>
      </p:sp>
    </p:spTree>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143000" y="838200"/>
            <a:ext cx="7620000" cy="4572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1219200" y="1752600"/>
            <a:ext cx="3695700" cy="4495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067300" y="1752600"/>
            <a:ext cx="3695700" cy="4495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0" y="6324600"/>
            <a:ext cx="1371600" cy="342900"/>
          </a:xfrm>
          <a:prstGeom prst="rect">
            <a:avLst/>
          </a:prstGeom>
        </p:spPr>
        <p:txBody>
          <a:bodyPr/>
          <a:lstStyle>
            <a:lvl1pPr>
              <a:defRPr/>
            </a:lvl1pPr>
          </a:lstStyle>
          <a:p>
            <a:pPr algn="l">
              <a:spcBef>
                <a:spcPct val="0"/>
              </a:spcBef>
            </a:pPr>
            <a:endParaRPr lang="en-US" sz="1800" b="0" dirty="0">
              <a:solidFill>
                <a:srgbClr val="002776"/>
              </a:solidFill>
              <a:latin typeface="Arial" charset="0"/>
              <a:cs typeface="Arial" charset="0"/>
            </a:endParaRPr>
          </a:p>
        </p:txBody>
      </p:sp>
      <p:sp>
        <p:nvSpPr>
          <p:cNvPr id="6" name="Footer Placeholder 5"/>
          <p:cNvSpPr>
            <a:spLocks noGrp="1"/>
          </p:cNvSpPr>
          <p:nvPr>
            <p:ph type="ftr" sz="quarter" idx="11"/>
          </p:nvPr>
        </p:nvSpPr>
        <p:spPr>
          <a:xfrm>
            <a:off x="1143000" y="6324600"/>
            <a:ext cx="4648200" cy="342900"/>
          </a:xfrm>
          <a:prstGeom prst="rect">
            <a:avLst/>
          </a:prstGeom>
        </p:spPr>
        <p:txBody>
          <a:bodyPr/>
          <a:lstStyle>
            <a:lvl1pPr>
              <a:defRPr/>
            </a:lvl1pPr>
          </a:lstStyle>
          <a:p>
            <a:pPr algn="l">
              <a:spcBef>
                <a:spcPct val="0"/>
              </a:spcBef>
            </a:pPr>
            <a:endParaRPr lang="en-US" sz="1800" b="0" dirty="0">
              <a:solidFill>
                <a:srgbClr val="002776"/>
              </a:solidFill>
              <a:latin typeface="Arial" charset="0"/>
              <a:cs typeface="Arial" charset="0"/>
            </a:endParaRPr>
          </a:p>
        </p:txBody>
      </p:sp>
      <p:sp>
        <p:nvSpPr>
          <p:cNvPr id="7" name="Slide Number Placeholder 6"/>
          <p:cNvSpPr>
            <a:spLocks noGrp="1"/>
          </p:cNvSpPr>
          <p:nvPr>
            <p:ph type="sldNum" sz="quarter" idx="12"/>
          </p:nvPr>
        </p:nvSpPr>
        <p:spPr>
          <a:xfrm>
            <a:off x="6781800" y="6324600"/>
            <a:ext cx="1905000" cy="342900"/>
          </a:xfrm>
          <a:prstGeom prst="rect">
            <a:avLst/>
          </a:prstGeom>
        </p:spPr>
        <p:txBody>
          <a:bodyPr/>
          <a:lstStyle>
            <a:lvl1pPr>
              <a:defRPr/>
            </a:lvl1pPr>
          </a:lstStyle>
          <a:p>
            <a:pPr algn="l">
              <a:spcBef>
                <a:spcPct val="0"/>
              </a:spcBef>
            </a:pPr>
            <a:fld id="{34869D9C-AF4F-44EC-B532-5279D25BAC64}" type="slidenum">
              <a:rPr lang="en-US" sz="1800" b="0">
                <a:solidFill>
                  <a:srgbClr val="002776"/>
                </a:solidFill>
                <a:latin typeface="Arial" charset="0"/>
                <a:cs typeface="Arial" charset="0"/>
              </a:rPr>
              <a:pPr algn="l">
                <a:spcBef>
                  <a:spcPct val="0"/>
                </a:spcBef>
              </a:pPr>
              <a:t>‹#›</a:t>
            </a:fld>
            <a:endParaRPr lang="en-US" sz="1800" b="0" dirty="0">
              <a:solidFill>
                <a:srgbClr val="002776"/>
              </a:solidFill>
              <a:latin typeface="Arial" charset="0"/>
              <a:cs typeface="Arial" charset="0"/>
            </a:endParaRPr>
          </a:p>
        </p:txBody>
      </p:sp>
    </p:spTree>
    <p:extLst>
      <p:ext uri="{BB962C8B-B14F-4D97-AF65-F5344CB8AC3E}">
        <p14:creationId xmlns:p14="http://schemas.microsoft.com/office/powerpoint/2010/main" val="1451109867"/>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4"/>
            <a:ext cx="8330184" cy="4882896"/>
          </a:xfrm>
          <a:prstGeom prst="rect">
            <a:avLst/>
          </a:prstGeom>
        </p:spPr>
        <p:txBody>
          <a:bodyPr rtlCol="0">
            <a:noAutofit/>
          </a:bodyPr>
          <a:lstStyle>
            <a:lvl1pPr marL="0" marR="0" indent="0" algn="l" defTabSz="913814" rtl="0" eaLnBrk="1" fontAlgn="base" latinLnBrk="0" hangingPunct="1">
              <a:lnSpc>
                <a:spcPct val="100000"/>
              </a:lnSpc>
              <a:spcBef>
                <a:spcPts val="2200"/>
              </a:spcBef>
              <a:spcAft>
                <a:spcPct val="0"/>
              </a:spcAft>
              <a:buClrTx/>
              <a:buSzTx/>
              <a:buFont typeface="Arial" pitchFamily="34" charset="0"/>
              <a:buNone/>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L="174513" marR="0" indent="-172927" algn="l" defTabSz="913814"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3814"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3814"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3814"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5pPr>
            <a:lvl6pPr marR="0" algn="l" defTabSz="913814"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itle Placeholder 10"/>
          <p:cNvSpPr>
            <a:spLocks noGrp="1"/>
          </p:cNvSpPr>
          <p:nvPr>
            <p:ph type="title"/>
          </p:nvPr>
        </p:nvSpPr>
        <p:spPr bwMode="gray">
          <a:xfrm>
            <a:off x="414340" y="422309"/>
            <a:ext cx="8330184" cy="333425"/>
          </a:xfrm>
          <a:prstGeom prst="rect">
            <a:avLst/>
          </a:prstGeom>
        </p:spPr>
        <p:txBody>
          <a:bodyPr>
            <a:spAutoFit/>
          </a:bodyPr>
          <a:lstStyle/>
          <a:p>
            <a:pPr lvl="0"/>
            <a:r>
              <a:rPr lang="en-US" dirty="0" smtClean="0"/>
              <a:t>Click to edit Master title style</a:t>
            </a:r>
            <a:endParaRPr lang="en-US" dirty="0"/>
          </a:p>
        </p:txBody>
      </p:sp>
    </p:spTree>
    <p:extLst>
      <p:ext uri="{BB962C8B-B14F-4D97-AF65-F5344CB8AC3E}">
        <p14:creationId xmlns:p14="http://schemas.microsoft.com/office/powerpoint/2010/main" val="3920615972"/>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9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3"/>
            <a:ext cx="8330184" cy="4882896"/>
          </a:xfrm>
          <a:prstGeom prst="rect">
            <a:avLst/>
          </a:prstGeom>
        </p:spPr>
        <p:txBody>
          <a:bodyPr rtlCol="0">
            <a:noAutofit/>
          </a:bodyPr>
          <a:lstStyle>
            <a:lvl1pPr marL="0" marR="0" indent="0" algn="l" defTabSz="914253" rtl="0" eaLnBrk="1" fontAlgn="base" latinLnBrk="0" hangingPunct="1">
              <a:lnSpc>
                <a:spcPct val="100000"/>
              </a:lnSpc>
              <a:spcBef>
                <a:spcPts val="2200"/>
              </a:spcBef>
              <a:spcAft>
                <a:spcPct val="0"/>
              </a:spcAft>
              <a:buClrTx/>
              <a:buSzTx/>
              <a:buFont typeface="Arial" pitchFamily="34" charset="0"/>
              <a:buNone/>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L="174597" marR="0" indent="-173011" algn="l" defTabSz="914253"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253"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253"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253"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253"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itle Placeholder 10"/>
          <p:cNvSpPr>
            <a:spLocks noGrp="1"/>
          </p:cNvSpPr>
          <p:nvPr>
            <p:ph type="title"/>
          </p:nvPr>
        </p:nvSpPr>
        <p:spPr bwMode="gray">
          <a:xfrm>
            <a:off x="414339" y="422306"/>
            <a:ext cx="8330184" cy="333425"/>
          </a:xfrm>
          <a:prstGeom prst="rect">
            <a:avLst/>
          </a:prstGeom>
        </p:spPr>
        <p:txBody>
          <a:bodyPr>
            <a:spAutoFit/>
          </a:bodyPr>
          <a:lstStyle/>
          <a:p>
            <a:pPr lvl="0"/>
            <a:r>
              <a:rPr lang="en-US" dirty="0" smtClean="0"/>
              <a:t>Click to edit Master title style</a:t>
            </a:r>
            <a:endParaRPr lang="en-US" dirty="0"/>
          </a:p>
        </p:txBody>
      </p:sp>
    </p:spTree>
    <p:extLst>
      <p:ext uri="{BB962C8B-B14F-4D97-AF65-F5344CB8AC3E}">
        <p14:creationId xmlns:p14="http://schemas.microsoft.com/office/powerpoint/2010/main" val="1205607775"/>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8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3"/>
            <a:ext cx="8330184" cy="4882896"/>
          </a:xfrm>
          <a:prstGeom prst="rect">
            <a:avLst/>
          </a:prstGeom>
        </p:spPr>
        <p:txBody>
          <a:bodyPr rtlCol="0">
            <a:noAutofit/>
          </a:bodyPr>
          <a:lstStyle>
            <a:lvl1pPr marL="0" marR="0" indent="0" algn="l" defTabSz="914253" rtl="0" eaLnBrk="1" fontAlgn="base" latinLnBrk="0" hangingPunct="1">
              <a:lnSpc>
                <a:spcPct val="100000"/>
              </a:lnSpc>
              <a:spcBef>
                <a:spcPts val="2200"/>
              </a:spcBef>
              <a:spcAft>
                <a:spcPct val="0"/>
              </a:spcAft>
              <a:buClrTx/>
              <a:buSzTx/>
              <a:buFont typeface="Arial" pitchFamily="34" charset="0"/>
              <a:buNone/>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L="174597" marR="0" indent="-173011" algn="l" defTabSz="914253"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253"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253"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253"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253"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itle Placeholder 10"/>
          <p:cNvSpPr>
            <a:spLocks noGrp="1"/>
          </p:cNvSpPr>
          <p:nvPr>
            <p:ph type="title"/>
          </p:nvPr>
        </p:nvSpPr>
        <p:spPr bwMode="gray">
          <a:xfrm>
            <a:off x="414339" y="422306"/>
            <a:ext cx="8330184" cy="333425"/>
          </a:xfrm>
          <a:prstGeom prst="rect">
            <a:avLst/>
          </a:prstGeom>
        </p:spPr>
        <p:txBody>
          <a:bodyPr>
            <a:spAutoFit/>
          </a:bodyPr>
          <a:lstStyle/>
          <a:p>
            <a:pPr lvl="0"/>
            <a:r>
              <a:rPr lang="en-US" dirty="0" smtClean="0"/>
              <a:t>Click to edit Master title style</a:t>
            </a:r>
            <a:endParaRPr lang="en-US" dirty="0"/>
          </a:p>
        </p:txBody>
      </p:sp>
    </p:spTree>
    <p:extLst>
      <p:ext uri="{BB962C8B-B14F-4D97-AF65-F5344CB8AC3E}">
        <p14:creationId xmlns:p14="http://schemas.microsoft.com/office/powerpoint/2010/main" val="751982021"/>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0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3"/>
            <a:ext cx="8330184" cy="4882896"/>
          </a:xfrm>
          <a:prstGeom prst="rect">
            <a:avLst/>
          </a:prstGeom>
        </p:spPr>
        <p:txBody>
          <a:bodyPr rtlCol="0">
            <a:noAutofit/>
          </a:bodyPr>
          <a:lstStyle>
            <a:lvl1pPr marL="0" marR="0" indent="0" algn="l" defTabSz="914253" rtl="0" eaLnBrk="1" fontAlgn="base" latinLnBrk="0" hangingPunct="1">
              <a:lnSpc>
                <a:spcPct val="100000"/>
              </a:lnSpc>
              <a:spcBef>
                <a:spcPts val="2200"/>
              </a:spcBef>
              <a:spcAft>
                <a:spcPct val="0"/>
              </a:spcAft>
              <a:buClrTx/>
              <a:buSzTx/>
              <a:buFont typeface="Arial" pitchFamily="34" charset="0"/>
              <a:buNone/>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L="174597" marR="0" indent="-173011" algn="l" defTabSz="914253"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253"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253"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253"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253"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itle Placeholder 10"/>
          <p:cNvSpPr>
            <a:spLocks noGrp="1"/>
          </p:cNvSpPr>
          <p:nvPr>
            <p:ph type="title"/>
          </p:nvPr>
        </p:nvSpPr>
        <p:spPr bwMode="gray">
          <a:xfrm>
            <a:off x="414339" y="422306"/>
            <a:ext cx="8330184" cy="333425"/>
          </a:xfrm>
          <a:prstGeom prst="rect">
            <a:avLst/>
          </a:prstGeom>
        </p:spPr>
        <p:txBody>
          <a:bodyPr>
            <a:spAutoFit/>
          </a:bodyPr>
          <a:lstStyle/>
          <a:p>
            <a:pPr lvl="0"/>
            <a:r>
              <a:rPr lang="en-US" dirty="0" smtClean="0"/>
              <a:t>Click to edit Master title style</a:t>
            </a:r>
            <a:endParaRPr lang="en-US" dirty="0"/>
          </a:p>
        </p:txBody>
      </p:sp>
    </p:spTree>
    <p:extLst>
      <p:ext uri="{BB962C8B-B14F-4D97-AF65-F5344CB8AC3E}">
        <p14:creationId xmlns:p14="http://schemas.microsoft.com/office/powerpoint/2010/main" val="270599640"/>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itle">
  <p:cSld name="1_Divider 2">
    <p:bg>
      <p:bgPr>
        <a:solidFill>
          <a:schemeClr val="accent2"/>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bwMode="auto">
          <a:xfrm>
            <a:off x="411480" y="2824696"/>
            <a:ext cx="8330184" cy="680186"/>
          </a:xfrm>
          <a:prstGeom prst="rect">
            <a:avLst/>
          </a:prstGeom>
        </p:spPr>
        <p:txBody>
          <a:bodyPr anchor="b" anchorCtr="0">
            <a:spAutoFit/>
          </a:bodyPr>
          <a:lstStyle>
            <a:lvl1pPr>
              <a:lnSpc>
                <a:spcPct val="85000"/>
              </a:lnSpc>
              <a:defRPr sz="5200" b="0" smtClean="0">
                <a:solidFill>
                  <a:schemeClr val="bg1"/>
                </a:solidFill>
                <a:latin typeface="Times New Roman" pitchFamily="18" charset="0"/>
                <a:cs typeface="Times New Roman" pitchFamily="18" charset="0"/>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bwMode="auto">
          <a:xfrm>
            <a:off x="411480" y="3694176"/>
            <a:ext cx="8330184" cy="492443"/>
          </a:xfrm>
          <a:prstGeom prst="rect">
            <a:avLst/>
          </a:prstGeom>
        </p:spPr>
        <p:txBody>
          <a:bodyPr>
            <a:spAutoFit/>
          </a:bodyPr>
          <a:lstStyle>
            <a:lvl1pPr>
              <a:lnSpc>
                <a:spcPct val="100000"/>
              </a:lnSpc>
              <a:defRPr sz="3200" b="0" smtClean="0">
                <a:solidFill>
                  <a:schemeClr val="bg1"/>
                </a:solidFill>
                <a:latin typeface="Arial" pitchFamily="34" charset="0"/>
              </a:defRPr>
            </a:lvl1pPr>
          </a:lstStyle>
          <a:p>
            <a:r>
              <a:rPr lang="en-US" smtClean="0"/>
              <a:t>Click to edit Master subtitle style</a:t>
            </a:r>
            <a:endParaRPr smtClean="0"/>
          </a:p>
        </p:txBody>
      </p:sp>
    </p:spTree>
    <p:extLst>
      <p:ext uri="{BB962C8B-B14F-4D97-AF65-F5344CB8AC3E}">
        <p14:creationId xmlns:p14="http://schemas.microsoft.com/office/powerpoint/2010/main" val="294834199"/>
      </p:ext>
    </p:extLst>
  </p:cSld>
  <p:clrMapOvr>
    <a:masterClrMapping/>
  </p:clrMapOvr>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2 Column">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411479" y="1399029"/>
            <a:ext cx="3999155"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18"/>
          <p:cNvSpPr>
            <a:spLocks noGrp="1"/>
          </p:cNvSpPr>
          <p:nvPr>
            <p:ph type="body" sz="quarter" idx="13"/>
          </p:nvPr>
        </p:nvSpPr>
        <p:spPr bwMode="gray">
          <a:xfrm>
            <a:off x="414338" y="779463"/>
            <a:ext cx="8330184"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mtClean="0"/>
              <a:t>Click to edit Master text styles</a:t>
            </a:r>
          </a:p>
        </p:txBody>
      </p:sp>
      <p:sp>
        <p:nvSpPr>
          <p:cNvPr id="6"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
        <p:nvSpPr>
          <p:cNvPr id="7" name="Content Placeholder 20"/>
          <p:cNvSpPr>
            <a:spLocks noGrp="1"/>
          </p:cNvSpPr>
          <p:nvPr>
            <p:ph sz="quarter" idx="14"/>
          </p:nvPr>
        </p:nvSpPr>
        <p:spPr bwMode="gray">
          <a:xfrm>
            <a:off x="4724400" y="1399029"/>
            <a:ext cx="3999155"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47709917"/>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3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4882896"/>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itle Placeholder 10"/>
          <p:cNvSpPr>
            <a:spLocks noGrp="1"/>
          </p:cNvSpPr>
          <p:nvPr>
            <p:ph type="title"/>
          </p:nvPr>
        </p:nvSpPr>
        <p:spPr bwMode="gray">
          <a:xfrm>
            <a:off x="414338" y="450279"/>
            <a:ext cx="8330184" cy="329184"/>
          </a:xfrm>
          <a:prstGeom prst="rect">
            <a:avLst/>
          </a:prstGeom>
        </p:spPr>
        <p:txBody>
          <a:bodyPr lIns="0" tIns="0" rIns="0" bIns="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299633861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5117451" cy="4882896"/>
          </a:xfrm>
          <a:prstGeom prst="rect">
            <a:avLst/>
          </a:prstGeom>
        </p:spPr>
        <p:txBody>
          <a:bodyPr vert="horz" wrap="square" lIns="0" tIns="0" rIns="0" bIns="0"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tab pos="5029200" algn="r"/>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tab pos="5029200" algn="r"/>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tab pos="5029200" algn="r"/>
              </a:tabLst>
              <a:defRPr kumimoji="0" lang="en-US" sz="18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tab pos="5029200" algn="r"/>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tab pos="5029200" algn="r"/>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itle Placeholder 10"/>
          <p:cNvSpPr>
            <a:spLocks noGrp="1"/>
          </p:cNvSpPr>
          <p:nvPr>
            <p:ph type="title"/>
          </p:nvPr>
        </p:nvSpPr>
        <p:spPr bwMode="gray">
          <a:xfrm>
            <a:off x="414338" y="450279"/>
            <a:ext cx="8330184" cy="329184"/>
          </a:xfrm>
          <a:prstGeom prst="rect">
            <a:avLst/>
          </a:prstGeom>
        </p:spPr>
        <p:txBody>
          <a:bodyPr lIns="0" tIns="0" rIns="0" bIns="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4882896"/>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itle Placeholder 10"/>
          <p:cNvSpPr>
            <a:spLocks noGrp="1"/>
          </p:cNvSpPr>
          <p:nvPr>
            <p:ph type="title"/>
          </p:nvPr>
        </p:nvSpPr>
        <p:spPr bwMode="gray">
          <a:xfrm>
            <a:off x="414338" y="450279"/>
            <a:ext cx="8330184" cy="329184"/>
          </a:xfrm>
          <a:prstGeom prst="rect">
            <a:avLst/>
          </a:prstGeom>
        </p:spPr>
        <p:txBody>
          <a:bodyPr lIns="0" tIns="0" rIns="0" bIns="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21" name="Content Placeholder 20"/>
          <p:cNvSpPr>
            <a:spLocks noGrp="1"/>
          </p:cNvSpPr>
          <p:nvPr>
            <p:ph sz="quarter" idx="11"/>
          </p:nvPr>
        </p:nvSpPr>
        <p:spPr bwMode="gray">
          <a:xfrm>
            <a:off x="411479" y="1399030"/>
            <a:ext cx="3999155" cy="4882896"/>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itle Placeholder 10"/>
          <p:cNvSpPr>
            <a:spLocks noGrp="1"/>
          </p:cNvSpPr>
          <p:nvPr>
            <p:ph type="title"/>
          </p:nvPr>
        </p:nvSpPr>
        <p:spPr bwMode="gray">
          <a:xfrm>
            <a:off x="414338" y="450279"/>
            <a:ext cx="8330184" cy="329184"/>
          </a:xfrm>
          <a:prstGeom prst="rect">
            <a:avLst/>
          </a:prstGeom>
        </p:spPr>
        <p:txBody>
          <a:bodyPr lIns="0" tIns="0" rIns="0" bIns="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
        <p:nvSpPr>
          <p:cNvPr id="5" name="Content Placeholder 20"/>
          <p:cNvSpPr>
            <a:spLocks noGrp="1"/>
          </p:cNvSpPr>
          <p:nvPr>
            <p:ph sz="quarter" idx="12"/>
          </p:nvPr>
        </p:nvSpPr>
        <p:spPr bwMode="gray">
          <a:xfrm>
            <a:off x="4724400" y="1399030"/>
            <a:ext cx="3999155" cy="4882896"/>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11" name="Title Placeholder 10"/>
          <p:cNvSpPr>
            <a:spLocks noGrp="1"/>
          </p:cNvSpPr>
          <p:nvPr>
            <p:ph type="title"/>
          </p:nvPr>
        </p:nvSpPr>
        <p:spPr bwMode="gray">
          <a:xfrm>
            <a:off x="414338" y="450279"/>
            <a:ext cx="8330184" cy="329184"/>
          </a:xfrm>
          <a:prstGeom prst="rect">
            <a:avLst/>
          </a:prstGeom>
        </p:spPr>
        <p:txBody>
          <a:bodyPr lIns="0" tIns="0" rIns="0" bIns="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
        <p:nvSpPr>
          <p:cNvPr id="6" name="Content Placeholder 20"/>
          <p:cNvSpPr>
            <a:spLocks noGrp="1"/>
          </p:cNvSpPr>
          <p:nvPr>
            <p:ph sz="quarter" idx="12"/>
          </p:nvPr>
        </p:nvSpPr>
        <p:spPr bwMode="gray">
          <a:xfrm>
            <a:off x="411479" y="1399030"/>
            <a:ext cx="2651760" cy="4882896"/>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Content Placeholder 20"/>
          <p:cNvSpPr>
            <a:spLocks noGrp="1"/>
          </p:cNvSpPr>
          <p:nvPr>
            <p:ph sz="quarter" idx="13"/>
          </p:nvPr>
        </p:nvSpPr>
        <p:spPr bwMode="gray">
          <a:xfrm>
            <a:off x="3239786" y="1399030"/>
            <a:ext cx="2651760" cy="4882896"/>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20"/>
          <p:cNvSpPr>
            <a:spLocks noGrp="1"/>
          </p:cNvSpPr>
          <p:nvPr>
            <p:ph sz="quarter" idx="14"/>
          </p:nvPr>
        </p:nvSpPr>
        <p:spPr bwMode="gray">
          <a:xfrm>
            <a:off x="6060896" y="1399030"/>
            <a:ext cx="2651760" cy="4882896"/>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 Graph">
    <p:spTree>
      <p:nvGrpSpPr>
        <p:cNvPr id="1" name=""/>
        <p:cNvGrpSpPr/>
        <p:nvPr/>
      </p:nvGrpSpPr>
      <p:grpSpPr>
        <a:xfrm>
          <a:off x="0" y="0"/>
          <a:ext cx="0" cy="0"/>
          <a:chOff x="0" y="0"/>
          <a:chExt cx="0" cy="0"/>
        </a:xfrm>
      </p:grpSpPr>
      <p:sp>
        <p:nvSpPr>
          <p:cNvPr id="6" name="Content Placeholder 20"/>
          <p:cNvSpPr>
            <a:spLocks noGrp="1"/>
          </p:cNvSpPr>
          <p:nvPr>
            <p:ph sz="quarter" idx="11"/>
          </p:nvPr>
        </p:nvSpPr>
        <p:spPr bwMode="gray">
          <a:xfrm>
            <a:off x="411478" y="1873249"/>
            <a:ext cx="8330184" cy="4270248"/>
          </a:xfrm>
          <a:prstGeom prst="rect">
            <a:avLst/>
          </a:prstGeom>
        </p:spPr>
        <p:txBody>
          <a:bodyPr/>
          <a:lstStyle>
            <a:lvl2pPr>
              <a:defRPr lang="en-US" sz="2000" kern="1200" dirty="0" smtClean="0">
                <a:solidFill>
                  <a:schemeClr val="tx2"/>
                </a:solidFill>
                <a:latin typeface="+mn-lt"/>
                <a:ea typeface="+mn-ea"/>
                <a:cs typeface="+mn-cs"/>
              </a:defRPr>
            </a:lvl2pPr>
            <a:lvl3pPr>
              <a:defRPr lang="en-US" sz="1800" kern="1200" dirty="0" smtClean="0">
                <a:solidFill>
                  <a:schemeClr val="tx2"/>
                </a:solidFill>
                <a:latin typeface="+mn-lt"/>
                <a:ea typeface="+mn-ea"/>
                <a:cs typeface="+mn-cs"/>
              </a:defRPr>
            </a:lvl3pPr>
            <a:lvl4pPr>
              <a:defRPr lang="en-US" sz="1800" kern="1200" dirty="0" smtClean="0">
                <a:solidFill>
                  <a:schemeClr val="tx2"/>
                </a:solidFill>
                <a:latin typeface="+mn-lt"/>
                <a:ea typeface="+mn-ea"/>
                <a:cs typeface="+mn-cs"/>
              </a:defRPr>
            </a:lvl4pPr>
            <a:lvl5pPr>
              <a:defRPr lang="en-US" sz="18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3"/>
          </p:nvPr>
        </p:nvSpPr>
        <p:spPr bwMode="gray">
          <a:xfrm>
            <a:off x="414338" y="1397000"/>
            <a:ext cx="8330184" cy="276999"/>
          </a:xfrm>
          <a:prstGeom prst="rect">
            <a:avLst/>
          </a:prstGeom>
        </p:spPr>
        <p:txBody>
          <a:bodyPr>
            <a:noAutofit/>
          </a:bodyPr>
          <a:lstStyle>
            <a:lvl1pPr>
              <a:defRPr sz="2000" b="1">
                <a:latin typeface="+mj-lt"/>
              </a:defRPr>
            </a:lvl1pPr>
          </a:lstStyle>
          <a:p>
            <a:pPr lvl="0"/>
            <a:r>
              <a:rPr lang="en-US" smtClean="0"/>
              <a:t>Click to edit Master text styles</a:t>
            </a:r>
          </a:p>
        </p:txBody>
      </p:sp>
      <p:sp>
        <p:nvSpPr>
          <p:cNvPr id="7" name="Text Placeholder 13"/>
          <p:cNvSpPr>
            <a:spLocks noGrp="1"/>
          </p:cNvSpPr>
          <p:nvPr>
            <p:ph type="body" sz="quarter" idx="15"/>
          </p:nvPr>
        </p:nvSpPr>
        <p:spPr bwMode="gray">
          <a:xfrm>
            <a:off x="411479" y="6153912"/>
            <a:ext cx="3995928" cy="128016"/>
          </a:xfrm>
          <a:prstGeom prst="rect">
            <a:avLst/>
          </a:prstGeom>
          <a:noFill/>
          <a:ln w="12700" algn="ctr">
            <a:noFill/>
            <a:miter lim="800000"/>
            <a:headEnd/>
            <a:tailEnd/>
          </a:ln>
        </p:spPr>
        <p:txBody>
          <a:bodyPr lIns="0" tIns="0" rIns="0" bIns="0" anchor="b">
            <a:spAutoFit/>
          </a:bodyPr>
          <a:lstStyle>
            <a:lvl1pPr algn="l" rtl="0" fontAlgn="base">
              <a:lnSpc>
                <a:spcPts val="1000"/>
              </a:lnSpc>
              <a:spcBef>
                <a:spcPct val="0"/>
              </a:spcBef>
              <a:spcAft>
                <a:spcPct val="0"/>
              </a:spcAft>
              <a:defRPr lang="en-US" sz="800" b="0" kern="1200" smtClean="0">
                <a:solidFill>
                  <a:schemeClr val="tx2"/>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11" name="Title Placeholder 10"/>
          <p:cNvSpPr>
            <a:spLocks noGrp="1"/>
          </p:cNvSpPr>
          <p:nvPr>
            <p:ph type="title"/>
          </p:nvPr>
        </p:nvSpPr>
        <p:spPr bwMode="gray">
          <a:xfrm>
            <a:off x="414338" y="450279"/>
            <a:ext cx="8330184" cy="329184"/>
          </a:xfrm>
          <a:prstGeom prst="rect">
            <a:avLst/>
          </a:prstGeom>
        </p:spPr>
        <p:txBody>
          <a:bodyPr lIns="0" tIns="0" rIns="0" bIns="0">
            <a:spAutoFit/>
          </a:bodyPr>
          <a:lstStyle>
            <a:lvl1pPr>
              <a:defRPr>
                <a:latin typeface="+mj-lt"/>
              </a:defRPr>
            </a:lvl1p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Graph">
    <p:spTree>
      <p:nvGrpSpPr>
        <p:cNvPr id="1" name=""/>
        <p:cNvGrpSpPr/>
        <p:nvPr/>
      </p:nvGrpSpPr>
      <p:grpSpPr>
        <a:xfrm>
          <a:off x="0" y="0"/>
          <a:ext cx="0" cy="0"/>
          <a:chOff x="0" y="0"/>
          <a:chExt cx="0" cy="0"/>
        </a:xfrm>
      </p:grpSpPr>
      <p:sp>
        <p:nvSpPr>
          <p:cNvPr id="6" name="Content Placeholder 20"/>
          <p:cNvSpPr>
            <a:spLocks noGrp="1"/>
          </p:cNvSpPr>
          <p:nvPr>
            <p:ph sz="quarter" idx="11"/>
          </p:nvPr>
        </p:nvSpPr>
        <p:spPr bwMode="gray">
          <a:xfrm>
            <a:off x="411479" y="1873248"/>
            <a:ext cx="3999155" cy="4270248"/>
          </a:xfrm>
          <a:prstGeom prst="rect">
            <a:avLst/>
          </a:prstGeom>
        </p:spPr>
        <p:txBody>
          <a:bodyPr/>
          <a:lstStyle>
            <a:lvl2pPr>
              <a:defRPr lang="en-US" sz="2000" kern="1200" dirty="0" smtClean="0">
                <a:solidFill>
                  <a:schemeClr val="tx2"/>
                </a:solidFill>
                <a:latin typeface="+mn-lt"/>
                <a:ea typeface="+mn-ea"/>
                <a:cs typeface="+mn-cs"/>
              </a:defRPr>
            </a:lvl2pPr>
            <a:lvl3pPr>
              <a:defRPr lang="en-US" sz="1800" kern="1200" dirty="0" smtClean="0">
                <a:solidFill>
                  <a:schemeClr val="tx2"/>
                </a:solidFill>
                <a:latin typeface="+mn-lt"/>
                <a:ea typeface="+mn-ea"/>
                <a:cs typeface="+mn-cs"/>
              </a:defRPr>
            </a:lvl3pPr>
            <a:lvl4pPr>
              <a:defRPr lang="en-US" sz="1800" kern="1200" dirty="0" smtClean="0">
                <a:solidFill>
                  <a:schemeClr val="tx2"/>
                </a:solidFill>
                <a:latin typeface="+mn-lt"/>
                <a:ea typeface="+mn-ea"/>
                <a:cs typeface="+mn-cs"/>
              </a:defRPr>
            </a:lvl4pPr>
            <a:lvl5pPr>
              <a:defRPr lang="en-US" sz="18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3"/>
          </p:nvPr>
        </p:nvSpPr>
        <p:spPr bwMode="gray">
          <a:xfrm>
            <a:off x="414338" y="1397000"/>
            <a:ext cx="3995928" cy="276999"/>
          </a:xfrm>
          <a:prstGeom prst="rect">
            <a:avLst/>
          </a:prstGeom>
        </p:spPr>
        <p:txBody>
          <a:bodyPr>
            <a:noAutofit/>
          </a:bodyPr>
          <a:lstStyle>
            <a:lvl1pPr>
              <a:defRPr sz="2000" b="1">
                <a:latin typeface="+mj-lt"/>
              </a:defRPr>
            </a:lvl1pPr>
          </a:lstStyle>
          <a:p>
            <a:pPr lvl="0"/>
            <a:r>
              <a:rPr lang="en-US" smtClean="0"/>
              <a:t>Click to edit Master text styles</a:t>
            </a:r>
          </a:p>
        </p:txBody>
      </p:sp>
      <p:sp>
        <p:nvSpPr>
          <p:cNvPr id="14" name="Text Placeholder 13"/>
          <p:cNvSpPr>
            <a:spLocks noGrp="1"/>
          </p:cNvSpPr>
          <p:nvPr>
            <p:ph type="body" sz="quarter" idx="15"/>
          </p:nvPr>
        </p:nvSpPr>
        <p:spPr bwMode="gray">
          <a:xfrm>
            <a:off x="411479" y="6153912"/>
            <a:ext cx="3995928" cy="128016"/>
          </a:xfrm>
          <a:prstGeom prst="rect">
            <a:avLst/>
          </a:prstGeom>
          <a:noFill/>
          <a:ln w="12700" algn="ctr">
            <a:noFill/>
            <a:miter lim="800000"/>
            <a:headEnd/>
            <a:tailEnd/>
          </a:ln>
        </p:spPr>
        <p:txBody>
          <a:bodyPr lIns="0" tIns="0" rIns="0" bIns="0" anchor="b">
            <a:spAutoFit/>
          </a:bodyPr>
          <a:lstStyle>
            <a:lvl1pPr algn="l" rtl="0" fontAlgn="base">
              <a:lnSpc>
                <a:spcPts val="1000"/>
              </a:lnSpc>
              <a:spcBef>
                <a:spcPct val="0"/>
              </a:spcBef>
              <a:spcAft>
                <a:spcPct val="0"/>
              </a:spcAft>
              <a:defRPr lang="en-US" sz="800" b="0" kern="1200" smtClean="0">
                <a:solidFill>
                  <a:srgbClr val="002776"/>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16" name="Title Placeholder 10"/>
          <p:cNvSpPr>
            <a:spLocks noGrp="1"/>
          </p:cNvSpPr>
          <p:nvPr>
            <p:ph type="title"/>
          </p:nvPr>
        </p:nvSpPr>
        <p:spPr bwMode="gray">
          <a:xfrm>
            <a:off x="414338" y="450279"/>
            <a:ext cx="8330184" cy="329184"/>
          </a:xfrm>
          <a:prstGeom prst="rect">
            <a:avLst/>
          </a:prstGeom>
        </p:spPr>
        <p:txBody>
          <a:bodyPr lIns="0" tIns="0" rIns="0" bIns="0">
            <a:spAutoFit/>
          </a:bodyPr>
          <a:lstStyle>
            <a:lvl1pPr>
              <a:defRPr>
                <a:latin typeface="+mj-lt"/>
              </a:defRPr>
            </a:lvl1p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
        <p:nvSpPr>
          <p:cNvPr id="9" name="Content Placeholder 20"/>
          <p:cNvSpPr>
            <a:spLocks noGrp="1"/>
          </p:cNvSpPr>
          <p:nvPr>
            <p:ph sz="quarter" idx="16"/>
          </p:nvPr>
        </p:nvSpPr>
        <p:spPr bwMode="gray">
          <a:xfrm>
            <a:off x="4724400" y="1873248"/>
            <a:ext cx="3999155" cy="4270248"/>
          </a:xfrm>
          <a:prstGeom prst="rect">
            <a:avLst/>
          </a:prstGeom>
        </p:spPr>
        <p:txBody>
          <a:bodyPr/>
          <a:lstStyle>
            <a:lvl2pPr>
              <a:defRPr lang="en-US" sz="2000" kern="1200" dirty="0" smtClean="0">
                <a:solidFill>
                  <a:schemeClr val="tx2"/>
                </a:solidFill>
                <a:latin typeface="+mn-lt"/>
                <a:ea typeface="+mn-ea"/>
                <a:cs typeface="+mn-cs"/>
              </a:defRPr>
            </a:lvl2pPr>
            <a:lvl3pPr>
              <a:defRPr lang="en-US" sz="1800" kern="1200" dirty="0" smtClean="0">
                <a:solidFill>
                  <a:schemeClr val="tx2"/>
                </a:solidFill>
                <a:latin typeface="+mn-lt"/>
                <a:ea typeface="+mn-ea"/>
                <a:cs typeface="+mn-cs"/>
              </a:defRPr>
            </a:lvl3pPr>
            <a:lvl4pPr>
              <a:defRPr lang="en-US" sz="1800" kern="1200" dirty="0" smtClean="0">
                <a:solidFill>
                  <a:schemeClr val="tx2"/>
                </a:solidFill>
                <a:latin typeface="+mn-lt"/>
                <a:ea typeface="+mn-ea"/>
                <a:cs typeface="+mn-cs"/>
              </a:defRPr>
            </a:lvl4pPr>
            <a:lvl5pPr>
              <a:defRPr lang="en-US" sz="18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11"/>
          <p:cNvSpPr>
            <a:spLocks noGrp="1"/>
          </p:cNvSpPr>
          <p:nvPr>
            <p:ph type="body" sz="quarter" idx="17"/>
          </p:nvPr>
        </p:nvSpPr>
        <p:spPr bwMode="gray">
          <a:xfrm>
            <a:off x="4727259" y="1397000"/>
            <a:ext cx="3995928" cy="276999"/>
          </a:xfrm>
          <a:prstGeom prst="rect">
            <a:avLst/>
          </a:prstGeom>
        </p:spPr>
        <p:txBody>
          <a:bodyPr>
            <a:noAutofit/>
          </a:bodyPr>
          <a:lstStyle>
            <a:lvl1pPr>
              <a:defRPr sz="2000" b="1">
                <a:latin typeface="+mj-lt"/>
              </a:defRPr>
            </a:lvl1pPr>
          </a:lstStyle>
          <a:p>
            <a:pPr lvl="0"/>
            <a:r>
              <a:rPr lang="en-US" smtClean="0"/>
              <a:t>Click to edit Master text styles</a:t>
            </a:r>
          </a:p>
        </p:txBody>
      </p:sp>
      <p:sp>
        <p:nvSpPr>
          <p:cNvPr id="11" name="Text Placeholder 13"/>
          <p:cNvSpPr>
            <a:spLocks noGrp="1"/>
          </p:cNvSpPr>
          <p:nvPr>
            <p:ph type="body" sz="quarter" idx="18"/>
          </p:nvPr>
        </p:nvSpPr>
        <p:spPr bwMode="gray">
          <a:xfrm>
            <a:off x="4724400" y="6153912"/>
            <a:ext cx="3995928" cy="128016"/>
          </a:xfrm>
          <a:prstGeom prst="rect">
            <a:avLst/>
          </a:prstGeom>
          <a:noFill/>
          <a:ln w="12700" algn="ctr">
            <a:noFill/>
            <a:miter lim="800000"/>
            <a:headEnd/>
            <a:tailEnd/>
          </a:ln>
        </p:spPr>
        <p:txBody>
          <a:bodyPr lIns="0" tIns="0" rIns="0" bIns="0" anchor="b">
            <a:spAutoFit/>
          </a:bodyPr>
          <a:lstStyle>
            <a:lvl1pPr algn="l" rtl="0" fontAlgn="base">
              <a:lnSpc>
                <a:spcPts val="1000"/>
              </a:lnSpc>
              <a:spcBef>
                <a:spcPct val="0"/>
              </a:spcBef>
              <a:spcAft>
                <a:spcPct val="0"/>
              </a:spcAft>
              <a:defRPr lang="en-US" sz="800" b="0" kern="1200" smtClean="0">
                <a:solidFill>
                  <a:srgbClr val="002776"/>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theme" Target="../theme/theme2.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8" name="Rectangle 17"/>
          <p:cNvSpPr>
            <a:spLocks noChangeArrowheads="1"/>
          </p:cNvSpPr>
          <p:nvPr/>
        </p:nvSpPr>
        <p:spPr bwMode="gray">
          <a:xfrm>
            <a:off x="5965825" y="6656388"/>
            <a:ext cx="2774950" cy="107722"/>
          </a:xfrm>
          <a:prstGeom prst="rect">
            <a:avLst/>
          </a:prstGeom>
          <a:noFill/>
          <a:ln w="25400" algn="ctr">
            <a:noFill/>
            <a:miter lim="800000"/>
            <a:headEnd/>
            <a:tailEnd/>
          </a:ln>
        </p:spPr>
        <p:txBody>
          <a:bodyPr lIns="0" tIns="0" rIns="0" bIns="0" anchor="b">
            <a:spAutoFit/>
          </a:bodyPr>
          <a:lstStyle/>
          <a:p>
            <a:pPr algn="r">
              <a:spcBef>
                <a:spcPct val="0"/>
              </a:spcBef>
            </a:pPr>
            <a:r>
              <a:rPr lang="en-US" sz="700" b="0" dirty="0">
                <a:solidFill>
                  <a:schemeClr val="tx2"/>
                </a:solidFill>
              </a:rPr>
              <a:t>Copyright © </a:t>
            </a:r>
            <a:r>
              <a:rPr lang="en-US" sz="700" b="0" dirty="0" smtClean="0">
                <a:solidFill>
                  <a:schemeClr val="tx2"/>
                </a:solidFill>
              </a:rPr>
              <a:t>2012 Deloitte </a:t>
            </a:r>
            <a:r>
              <a:rPr lang="en-US" sz="700" b="0" dirty="0">
                <a:solidFill>
                  <a:schemeClr val="tx2"/>
                </a:solidFill>
              </a:rPr>
              <a:t>Development LLC. </a:t>
            </a:r>
            <a:r>
              <a:rPr lang="en-US" sz="700" b="0" dirty="0" smtClean="0">
                <a:solidFill>
                  <a:schemeClr val="tx2"/>
                </a:solidFill>
              </a:rPr>
              <a:t>All rights reserved.</a:t>
            </a:r>
            <a:endParaRPr lang="en-US" sz="700" b="0" dirty="0">
              <a:solidFill>
                <a:schemeClr val="tx2"/>
              </a:solidFill>
            </a:endParaRPr>
          </a:p>
        </p:txBody>
      </p:sp>
      <p:sp>
        <p:nvSpPr>
          <p:cNvPr id="11" name="Title Placeholder 10"/>
          <p:cNvSpPr>
            <a:spLocks noGrp="1"/>
          </p:cNvSpPr>
          <p:nvPr>
            <p:ph type="title"/>
          </p:nvPr>
        </p:nvSpPr>
        <p:spPr bwMode="gray">
          <a:xfrm>
            <a:off x="414338" y="450279"/>
            <a:ext cx="8330184" cy="329184"/>
          </a:xfrm>
          <a:prstGeom prst="rect">
            <a:avLst/>
          </a:prstGeom>
        </p:spPr>
        <p:txBody>
          <a:bodyPr lIns="0" tIns="0" rIns="0" bIns="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
        <p:nvSpPr>
          <p:cNvPr id="16" name="Text Placeholder 15"/>
          <p:cNvSpPr>
            <a:spLocks noGrp="1"/>
          </p:cNvSpPr>
          <p:nvPr>
            <p:ph type="body" idx="1"/>
          </p:nvPr>
        </p:nvSpPr>
        <p:spPr bwMode="gray">
          <a:xfrm>
            <a:off x="411480" y="1400175"/>
            <a:ext cx="8330184" cy="1679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Box 7"/>
          <p:cNvSpPr txBox="1"/>
          <p:nvPr userDrawn="1"/>
        </p:nvSpPr>
        <p:spPr>
          <a:xfrm>
            <a:off x="4330700" y="6586538"/>
            <a:ext cx="342900" cy="246062"/>
          </a:xfrm>
          <a:prstGeom prst="rect">
            <a:avLst/>
          </a:prstGeom>
          <a:noFill/>
        </p:spPr>
        <p:txBody>
          <a:bodyPr wrap="none">
            <a:spAutoFit/>
          </a:bodyPr>
          <a:lstStyle/>
          <a:p>
            <a:pPr algn="l" fontAlgn="auto">
              <a:spcBef>
                <a:spcPts val="600"/>
              </a:spcBef>
              <a:spcAft>
                <a:spcPts val="0"/>
              </a:spcAft>
              <a:defRPr/>
            </a:pPr>
            <a:fld id="{07948DF2-EAE7-4DE1-8FDB-04C5ACB2B98C}" type="slidenum">
              <a:rPr lang="en-US" sz="1000" b="0">
                <a:solidFill>
                  <a:srgbClr val="002776"/>
                </a:solidFill>
                <a:latin typeface="Arial"/>
                <a:cs typeface="Arial" charset="0"/>
              </a:rPr>
              <a:pPr algn="l" fontAlgn="auto">
                <a:spcBef>
                  <a:spcPts val="600"/>
                </a:spcBef>
                <a:spcAft>
                  <a:spcPts val="0"/>
                </a:spcAft>
                <a:defRPr/>
              </a:pPr>
              <a:t>‹#›</a:t>
            </a:fld>
            <a:endParaRPr lang="en-US" sz="1000" b="0" dirty="0">
              <a:solidFill>
                <a:srgbClr val="002776"/>
              </a:solidFill>
              <a:latin typeface="Arial"/>
              <a:cs typeface="Arial" charset="0"/>
            </a:endParaRPr>
          </a:p>
        </p:txBody>
      </p:sp>
    </p:spTree>
  </p:cSld>
  <p:clrMap bg1="lt1" tx1="dk1" bg2="lt2" tx2="dk2" accent1="accent1" accent2="accent2" accent3="accent3" accent4="accent4" accent5="accent5" accent6="accent6" hlink="hlink" folHlink="folHlink"/>
  <p:sldLayoutIdLst>
    <p:sldLayoutId id="2147483883" r:id="rId1"/>
    <p:sldLayoutId id="2147483901" r:id="rId2"/>
    <p:sldLayoutId id="2147483907" r:id="rId3"/>
    <p:sldLayoutId id="2147483908" r:id="rId4"/>
    <p:sldLayoutId id="2147483898" r:id="rId5"/>
    <p:sldLayoutId id="2147483904" r:id="rId6"/>
    <p:sldLayoutId id="2147483906" r:id="rId7"/>
    <p:sldLayoutId id="2147483905" r:id="rId8"/>
    <p:sldLayoutId id="2147483897" r:id="rId9"/>
    <p:sldLayoutId id="2147483899" r:id="rId10"/>
    <p:sldLayoutId id="2147483900" r:id="rId11"/>
    <p:sldLayoutId id="2147483910" r:id="rId12"/>
  </p:sldLayoutIdLst>
  <p:timing>
    <p:tnLst>
      <p:par>
        <p:cTn id="1" dur="indefinite" restart="never" nodeType="tmRoot"/>
      </p:par>
    </p:tnLst>
  </p:timing>
  <p:hf hdr="0" dt="0"/>
  <p:txStyles>
    <p:titleStyle>
      <a:lvl1pPr algn="l" rtl="0" eaLnBrk="1" fontAlgn="base" hangingPunct="1">
        <a:lnSpc>
          <a:spcPts val="2600"/>
        </a:lnSpc>
        <a:spcBef>
          <a:spcPct val="0"/>
        </a:spcBef>
        <a:spcAft>
          <a:spcPct val="0"/>
        </a:spcAft>
        <a:defRPr kumimoji="0" lang="en-US" sz="2400" b="1" i="0" u="none" strike="noStrike" kern="1200" cap="none" spc="0" normalizeH="0" baseline="0" noProof="0" dirty="0" smtClean="0">
          <a:ln>
            <a:noFill/>
          </a:ln>
          <a:solidFill>
            <a:schemeClr val="tx2"/>
          </a:solidFill>
          <a:effectLst/>
          <a:uLnTx/>
          <a:uFillTx/>
          <a:latin typeface="+mj-lt"/>
          <a:ea typeface="+mj-ea"/>
          <a:cs typeface="+mj-cs"/>
        </a:defRPr>
      </a:lvl1pPr>
      <a:lvl2pPr algn="l" rtl="0" eaLnBrk="1" fontAlgn="base" hangingPunct="1">
        <a:lnSpc>
          <a:spcPct val="90000"/>
        </a:lnSpc>
        <a:spcBef>
          <a:spcPct val="0"/>
        </a:spcBef>
        <a:spcAft>
          <a:spcPct val="0"/>
        </a:spcAft>
        <a:defRPr b="1">
          <a:solidFill>
            <a:schemeClr val="tx1"/>
          </a:solidFill>
          <a:latin typeface="Arial" charset="0"/>
        </a:defRPr>
      </a:lvl2pPr>
      <a:lvl3pPr algn="l" rtl="0" eaLnBrk="1" fontAlgn="base" hangingPunct="1">
        <a:lnSpc>
          <a:spcPct val="90000"/>
        </a:lnSpc>
        <a:spcBef>
          <a:spcPct val="0"/>
        </a:spcBef>
        <a:spcAft>
          <a:spcPct val="0"/>
        </a:spcAft>
        <a:defRPr b="1">
          <a:solidFill>
            <a:schemeClr val="tx1"/>
          </a:solidFill>
          <a:latin typeface="Arial" charset="0"/>
        </a:defRPr>
      </a:lvl3pPr>
      <a:lvl4pPr algn="l" rtl="0" eaLnBrk="1" fontAlgn="base" hangingPunct="1">
        <a:lnSpc>
          <a:spcPct val="90000"/>
        </a:lnSpc>
        <a:spcBef>
          <a:spcPct val="0"/>
        </a:spcBef>
        <a:spcAft>
          <a:spcPct val="0"/>
        </a:spcAft>
        <a:defRPr b="1">
          <a:solidFill>
            <a:schemeClr val="tx1"/>
          </a:solidFill>
          <a:latin typeface="Arial" charset="0"/>
        </a:defRPr>
      </a:lvl4pPr>
      <a:lvl5pPr algn="l" rtl="0" eaLnBrk="1" fontAlgn="base" hangingPunct="1">
        <a:lnSpc>
          <a:spcPct val="90000"/>
        </a:lnSpc>
        <a:spcBef>
          <a:spcPct val="0"/>
        </a:spcBef>
        <a:spcAft>
          <a:spcPct val="0"/>
        </a:spcAft>
        <a:defRPr b="1">
          <a:solidFill>
            <a:schemeClr val="tx1"/>
          </a:solidFill>
          <a:latin typeface="Arial" charset="0"/>
        </a:defRPr>
      </a:lvl5pPr>
      <a:lvl6pPr marL="457200" algn="l" rtl="0" eaLnBrk="1" fontAlgn="base" hangingPunct="1">
        <a:spcBef>
          <a:spcPct val="0"/>
        </a:spcBef>
        <a:spcAft>
          <a:spcPct val="0"/>
        </a:spcAft>
        <a:defRPr sz="2400" b="1">
          <a:solidFill>
            <a:schemeClr val="accent1"/>
          </a:solidFill>
          <a:latin typeface="Arial" charset="0"/>
        </a:defRPr>
      </a:lvl6pPr>
      <a:lvl7pPr marL="914400" algn="l" rtl="0" eaLnBrk="1" fontAlgn="base" hangingPunct="1">
        <a:spcBef>
          <a:spcPct val="0"/>
        </a:spcBef>
        <a:spcAft>
          <a:spcPct val="0"/>
        </a:spcAft>
        <a:defRPr sz="2400" b="1">
          <a:solidFill>
            <a:schemeClr val="accent1"/>
          </a:solidFill>
          <a:latin typeface="Arial" charset="0"/>
        </a:defRPr>
      </a:lvl7pPr>
      <a:lvl8pPr marL="1371600" algn="l" rtl="0" eaLnBrk="1" fontAlgn="base" hangingPunct="1">
        <a:spcBef>
          <a:spcPct val="0"/>
        </a:spcBef>
        <a:spcAft>
          <a:spcPct val="0"/>
        </a:spcAft>
        <a:defRPr sz="2400" b="1">
          <a:solidFill>
            <a:schemeClr val="accent1"/>
          </a:solidFill>
          <a:latin typeface="Arial" charset="0"/>
        </a:defRPr>
      </a:lvl8pPr>
      <a:lvl9pPr marL="1828800" algn="l" rtl="0" eaLnBrk="1" fontAlgn="base" hangingPunct="1">
        <a:spcBef>
          <a:spcPct val="0"/>
        </a:spcBef>
        <a:spcAft>
          <a:spcPct val="0"/>
        </a:spcAft>
        <a:defRPr sz="2400" b="1">
          <a:solidFill>
            <a:schemeClr val="accent1"/>
          </a:solidFill>
          <a:latin typeface="Arial" charset="0"/>
        </a:defRPr>
      </a:lvl9pPr>
    </p:titleStyle>
    <p:bodyStyle>
      <a:lvl1pPr marR="0" indent="0" algn="l" defTabSz="914400" rtl="0" eaLnBrk="1" fontAlgn="base" latinLnBrk="0" hangingPunct="1">
        <a:lnSpc>
          <a:spcPct val="100000"/>
        </a:lnSpc>
        <a:spcBef>
          <a:spcPts val="1900"/>
        </a:spcBef>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4625" algn="l" defTabSz="914400" rtl="0" eaLnBrk="1" fontAlgn="base" latinLnBrk="0" hangingPunct="1">
        <a:lnSpc>
          <a:spcPct val="100000"/>
        </a:lnSpc>
        <a:spcBef>
          <a:spcPts val="500"/>
        </a:spcBef>
        <a:spcAft>
          <a:spcPct val="0"/>
        </a:spcAft>
        <a:buFont typeface="Arial" pitchFamily="34" charset="0"/>
        <a:buChar char="•"/>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L="401638" indent="-231775" algn="l" rtl="0" eaLnBrk="1" fontAlgn="base" hangingPunct="1">
        <a:lnSpc>
          <a:spcPct val="100000"/>
        </a:lnSpc>
        <a:spcBef>
          <a:spcPts val="400"/>
        </a:spcBef>
        <a:spcAft>
          <a:spcPct val="0"/>
        </a:spcAft>
        <a:buFont typeface="Arial" pitchFamily="34" charset="0"/>
        <a:buChar char="–"/>
        <a:defRPr lang="en-US" sz="1800" kern="1200" dirty="0" smtClean="0">
          <a:solidFill>
            <a:schemeClr val="tx2"/>
          </a:solidFill>
          <a:latin typeface="+mn-lt"/>
          <a:ea typeface="+mn-ea"/>
          <a:cs typeface="+mn-cs"/>
        </a:defRPr>
      </a:lvl3pPr>
      <a:lvl4pPr marL="569913" marR="0" indent="-168275" algn="l" defTabSz="914400" rtl="0" eaLnBrk="1" fontAlgn="base" latinLnBrk="0" hangingPunct="1">
        <a:lnSpc>
          <a:spcPct val="100000"/>
        </a:lnSpc>
        <a:spcBef>
          <a:spcPts val="400"/>
        </a:spcBef>
        <a:spcAft>
          <a:spcPct val="0"/>
        </a:spcAft>
        <a:buFont typeface="Arial" pitchFamily="34" charset="0"/>
        <a:buChar char="•"/>
        <a:tabLst/>
        <a:defRPr kumimoji="0" lang="en-US" sz="1800" b="0" i="0" u="none" strike="noStrike" kern="1200" cap="none" normalizeH="0" baseline="0" dirty="0" smtClean="0">
          <a:ln>
            <a:noFill/>
          </a:ln>
          <a:solidFill>
            <a:schemeClr val="tx2"/>
          </a:solidFill>
          <a:effectLst/>
          <a:latin typeface="Arial" pitchFamily="34" charset="0"/>
          <a:ea typeface="+mn-ea"/>
          <a:cs typeface="Arial" pitchFamily="34" charset="0"/>
        </a:defRPr>
      </a:lvl4pPr>
      <a:lvl5pPr marL="796925" marR="0" indent="-227013" algn="l" defTabSz="914400" rtl="0" eaLnBrk="1" fontAlgn="base" latinLnBrk="0" hangingPunct="1">
        <a:lnSpc>
          <a:spcPct val="100000"/>
        </a:lnSpc>
        <a:spcBef>
          <a:spcPts val="400"/>
        </a:spcBef>
        <a:spcAft>
          <a:spcPct val="0"/>
        </a:spcAft>
        <a:buFont typeface="Arial" pitchFamily="34" charset="0"/>
        <a:buChar char="–"/>
        <a:tabLst/>
        <a:defRPr kumimoji="0" lang="en-US" sz="1800" b="0" i="0" u="none" strike="noStrike" kern="1200" cap="none" normalizeH="0" baseline="0" dirty="0" smtClean="0">
          <a:ln>
            <a:noFill/>
          </a:ln>
          <a:solidFill>
            <a:schemeClr val="tx2"/>
          </a:solidFill>
          <a:effectLst/>
          <a:latin typeface="Arial" pitchFamily="34" charset="0"/>
          <a:ea typeface="+mn-ea"/>
          <a:cs typeface="Arial" pitchFamily="34" charset="0"/>
        </a:defRPr>
      </a:lvl5pPr>
      <a:lvl6pPr marL="666750" marR="0" indent="-166688" algn="l" defTabSz="914400" rtl="0" eaLnBrk="1" fontAlgn="base" latinLnBrk="0" hangingPunct="1">
        <a:lnSpc>
          <a:spcPct val="100000"/>
        </a:lnSpc>
        <a:spcBef>
          <a:spcPts val="400"/>
        </a:spcBef>
        <a:spcAft>
          <a:spcPct val="0"/>
        </a:spcAft>
        <a:buFont typeface="Arial" pitchFamily="34" charset="0"/>
        <a:buChar char="–"/>
        <a:tabLst/>
        <a:defRPr kumimoji="0" lang="en-US" sz="1000" b="0" i="0" u="none" strike="noStrike" kern="1200" cap="none" normalizeH="0" baseline="0" dirty="0" smtClean="0">
          <a:ln>
            <a:noFill/>
          </a:ln>
          <a:solidFill>
            <a:schemeClr val="tx2"/>
          </a:solidFill>
          <a:effectLst/>
          <a:latin typeface="Arial" pitchFamily="34" charset="0"/>
          <a:ea typeface="+mn-ea"/>
          <a:cs typeface="Arial" pitchFamily="34" charset="0"/>
        </a:defRPr>
      </a:lvl6pPr>
      <a:lvl7pPr marL="1079500" indent="-184150"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7pPr>
      <a:lvl8pPr marL="1252538" indent="-173038"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8pPr>
      <a:lvl9pPr marL="1435100" indent="-182563"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8" name="Rectangle 17"/>
          <p:cNvSpPr>
            <a:spLocks noChangeArrowheads="1"/>
          </p:cNvSpPr>
          <p:nvPr/>
        </p:nvSpPr>
        <p:spPr bwMode="gray">
          <a:xfrm>
            <a:off x="5965825" y="6656388"/>
            <a:ext cx="2774950" cy="107950"/>
          </a:xfrm>
          <a:prstGeom prst="rect">
            <a:avLst/>
          </a:prstGeom>
          <a:noFill/>
          <a:ln w="25400" algn="ctr">
            <a:noFill/>
            <a:miter lim="800000"/>
            <a:headEnd/>
            <a:tailEnd/>
          </a:ln>
        </p:spPr>
        <p:txBody>
          <a:bodyPr lIns="0" tIns="0" rIns="0" bIns="0" anchor="b">
            <a:spAutoFit/>
          </a:bodyPr>
          <a:lstStyle/>
          <a:p>
            <a:pPr algn="r" fontAlgn="auto">
              <a:spcBef>
                <a:spcPct val="0"/>
              </a:spcBef>
              <a:spcAft>
                <a:spcPts val="0"/>
              </a:spcAft>
              <a:defRPr/>
            </a:pPr>
            <a:r>
              <a:rPr lang="en-US" sz="700" b="0" dirty="0">
                <a:solidFill>
                  <a:srgbClr val="002776"/>
                </a:solidFill>
                <a:latin typeface="Arial"/>
                <a:cs typeface="Arial" charset="0"/>
              </a:rPr>
              <a:t>Copyright © </a:t>
            </a:r>
            <a:r>
              <a:rPr lang="en-US" sz="700" b="0" dirty="0" smtClean="0">
                <a:solidFill>
                  <a:srgbClr val="002776"/>
                </a:solidFill>
                <a:latin typeface="Arial"/>
                <a:cs typeface="Arial" charset="0"/>
              </a:rPr>
              <a:t>2012 </a:t>
            </a:r>
            <a:r>
              <a:rPr lang="en-US" sz="700" b="0" dirty="0">
                <a:solidFill>
                  <a:srgbClr val="002776"/>
                </a:solidFill>
                <a:latin typeface="Arial"/>
                <a:cs typeface="Arial" charset="0"/>
              </a:rPr>
              <a:t>Deloitte Development LLC. All rights reserved.</a:t>
            </a:r>
          </a:p>
        </p:txBody>
      </p:sp>
      <p:sp>
        <p:nvSpPr>
          <p:cNvPr id="12291" name="Title Placeholder 10"/>
          <p:cNvSpPr>
            <a:spLocks noGrp="1"/>
          </p:cNvSpPr>
          <p:nvPr>
            <p:ph type="title"/>
          </p:nvPr>
        </p:nvSpPr>
        <p:spPr bwMode="gray">
          <a:xfrm>
            <a:off x="414338" y="336550"/>
            <a:ext cx="8329612" cy="442913"/>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lvl="0"/>
            <a:r>
              <a:rPr lang="en-US" smtClean="0"/>
              <a:t>Enter sentence case titles</a:t>
            </a:r>
          </a:p>
        </p:txBody>
      </p:sp>
      <p:sp>
        <p:nvSpPr>
          <p:cNvPr id="12292" name="Text Placeholder 15"/>
          <p:cNvSpPr>
            <a:spLocks noGrp="1"/>
          </p:cNvSpPr>
          <p:nvPr>
            <p:ph type="body" idx="1"/>
          </p:nvPr>
        </p:nvSpPr>
        <p:spPr bwMode="gray">
          <a:xfrm>
            <a:off x="411163" y="1400175"/>
            <a:ext cx="8331200" cy="16002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First level</a:t>
            </a:r>
          </a:p>
          <a:p>
            <a:pPr lvl="1"/>
            <a:r>
              <a:rPr lang="en-US" smtClean="0"/>
              <a:t>Second level</a:t>
            </a:r>
          </a:p>
          <a:p>
            <a:pPr lvl="2"/>
            <a:r>
              <a:rPr lang="en-US" smtClean="0"/>
              <a:t>Third level</a:t>
            </a:r>
          </a:p>
          <a:p>
            <a:pPr lvl="3"/>
            <a:r>
              <a:rPr lang="en-US" smtClean="0"/>
              <a:t>Fourth level</a:t>
            </a:r>
          </a:p>
        </p:txBody>
      </p:sp>
      <p:cxnSp>
        <p:nvCxnSpPr>
          <p:cNvPr id="6" name="Straight Connector 5"/>
          <p:cNvCxnSpPr/>
          <p:nvPr userDrawn="1"/>
        </p:nvCxnSpPr>
        <p:spPr>
          <a:xfrm>
            <a:off x="411163" y="779463"/>
            <a:ext cx="8332787"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Box 12"/>
          <p:cNvSpPr txBox="1"/>
          <p:nvPr userDrawn="1"/>
        </p:nvSpPr>
        <p:spPr>
          <a:xfrm>
            <a:off x="4330700" y="6586538"/>
            <a:ext cx="342900" cy="246062"/>
          </a:xfrm>
          <a:prstGeom prst="rect">
            <a:avLst/>
          </a:prstGeom>
          <a:noFill/>
        </p:spPr>
        <p:txBody>
          <a:bodyPr wrap="none">
            <a:spAutoFit/>
          </a:bodyPr>
          <a:lstStyle/>
          <a:p>
            <a:pPr algn="l" fontAlgn="auto">
              <a:spcBef>
                <a:spcPts val="600"/>
              </a:spcBef>
              <a:spcAft>
                <a:spcPts val="0"/>
              </a:spcAft>
              <a:defRPr/>
            </a:pPr>
            <a:fld id="{07948DF2-EAE7-4DE1-8FDB-04C5ACB2B98C}" type="slidenum">
              <a:rPr lang="en-US" sz="1000" b="0">
                <a:solidFill>
                  <a:srgbClr val="002776"/>
                </a:solidFill>
                <a:latin typeface="Arial"/>
                <a:cs typeface="Arial" charset="0"/>
              </a:rPr>
              <a:pPr algn="l" fontAlgn="auto">
                <a:spcBef>
                  <a:spcPts val="600"/>
                </a:spcBef>
                <a:spcAft>
                  <a:spcPts val="0"/>
                </a:spcAft>
                <a:defRPr/>
              </a:pPr>
              <a:t>‹#›</a:t>
            </a:fld>
            <a:endParaRPr lang="en-US" sz="1000" b="0" dirty="0">
              <a:solidFill>
                <a:srgbClr val="002776"/>
              </a:solidFill>
              <a:latin typeface="Arial"/>
              <a:cs typeface="Arial" charset="0"/>
            </a:endParaRPr>
          </a:p>
        </p:txBody>
      </p:sp>
    </p:spTree>
    <p:extLst>
      <p:ext uri="{BB962C8B-B14F-4D97-AF65-F5344CB8AC3E}">
        <p14:creationId xmlns:p14="http://schemas.microsoft.com/office/powerpoint/2010/main" val="1023759849"/>
      </p:ext>
    </p:extLst>
  </p:cSld>
  <p:clrMap bg1="lt1" tx1="dk1" bg2="lt2" tx2="dk2" accent1="accent1" accent2="accent2" accent3="accent3" accent4="accent4" accent5="accent5" accent6="accent6" hlink="hlink" folHlink="folHlink"/>
  <p:sldLayoutIdLst>
    <p:sldLayoutId id="2147483930" r:id="rId1"/>
    <p:sldLayoutId id="2147483931" r:id="rId2"/>
    <p:sldLayoutId id="2147483932" r:id="rId3"/>
    <p:sldLayoutId id="2147483933" r:id="rId4"/>
    <p:sldLayoutId id="2147483934" r:id="rId5"/>
    <p:sldLayoutId id="2147483935" r:id="rId6"/>
    <p:sldLayoutId id="2147483936" r:id="rId7"/>
    <p:sldLayoutId id="2147483937" r:id="rId8"/>
    <p:sldLayoutId id="2147483938" r:id="rId9"/>
    <p:sldLayoutId id="2147483939" r:id="rId10"/>
    <p:sldLayoutId id="2147483940" r:id="rId11"/>
    <p:sldLayoutId id="2147483941" r:id="rId12"/>
    <p:sldLayoutId id="2147483942" r:id="rId13"/>
    <p:sldLayoutId id="2147483943" r:id="rId14"/>
    <p:sldLayoutId id="2147483944" r:id="rId15"/>
    <p:sldLayoutId id="2147483945" r:id="rId16"/>
    <p:sldLayoutId id="2147483946" r:id="rId17"/>
    <p:sldLayoutId id="2147483948" r:id="rId18"/>
    <p:sldLayoutId id="2147483949" r:id="rId19"/>
    <p:sldLayoutId id="2147483950" r:id="rId20"/>
    <p:sldLayoutId id="2147483956" r:id="rId21"/>
    <p:sldLayoutId id="2147483957" r:id="rId22"/>
    <p:sldLayoutId id="2147483960" r:id="rId23"/>
    <p:sldLayoutId id="2147483961" r:id="rId24"/>
    <p:sldLayoutId id="2147483962" r:id="rId25"/>
  </p:sldLayoutIdLst>
  <p:timing>
    <p:tnLst>
      <p:par>
        <p:cTn id="1" dur="indefinite" restart="never" nodeType="tmRoot"/>
      </p:par>
    </p:tnLst>
  </p:timing>
  <p:hf hdr="0" dt="0"/>
  <p:txStyles>
    <p:titleStyle>
      <a:lvl1pPr algn="l" rtl="0" eaLnBrk="0" fontAlgn="base" hangingPunct="0">
        <a:lnSpc>
          <a:spcPts val="2600"/>
        </a:lnSpc>
        <a:spcBef>
          <a:spcPct val="0"/>
        </a:spcBef>
        <a:spcAft>
          <a:spcPct val="0"/>
        </a:spcAft>
        <a:defRPr lang="en-US" sz="3200" b="1" kern="1200" dirty="0">
          <a:solidFill>
            <a:schemeClr val="tx2"/>
          </a:solidFill>
          <a:latin typeface="+mj-lt"/>
          <a:ea typeface="+mj-ea"/>
          <a:cs typeface="+mj-cs"/>
        </a:defRPr>
      </a:lvl1pPr>
      <a:lvl2pPr algn="l" rtl="0" eaLnBrk="0" fontAlgn="base" hangingPunct="0">
        <a:lnSpc>
          <a:spcPts val="2600"/>
        </a:lnSpc>
        <a:spcBef>
          <a:spcPct val="0"/>
        </a:spcBef>
        <a:spcAft>
          <a:spcPct val="0"/>
        </a:spcAft>
        <a:defRPr sz="3200" b="1">
          <a:solidFill>
            <a:schemeClr val="tx2"/>
          </a:solidFill>
          <a:latin typeface="Arial" charset="0"/>
        </a:defRPr>
      </a:lvl2pPr>
      <a:lvl3pPr algn="l" rtl="0" eaLnBrk="0" fontAlgn="base" hangingPunct="0">
        <a:lnSpc>
          <a:spcPts val="2600"/>
        </a:lnSpc>
        <a:spcBef>
          <a:spcPct val="0"/>
        </a:spcBef>
        <a:spcAft>
          <a:spcPct val="0"/>
        </a:spcAft>
        <a:defRPr sz="3200" b="1">
          <a:solidFill>
            <a:schemeClr val="tx2"/>
          </a:solidFill>
          <a:latin typeface="Arial" charset="0"/>
        </a:defRPr>
      </a:lvl3pPr>
      <a:lvl4pPr algn="l" rtl="0" eaLnBrk="0" fontAlgn="base" hangingPunct="0">
        <a:lnSpc>
          <a:spcPts val="2600"/>
        </a:lnSpc>
        <a:spcBef>
          <a:spcPct val="0"/>
        </a:spcBef>
        <a:spcAft>
          <a:spcPct val="0"/>
        </a:spcAft>
        <a:defRPr sz="3200" b="1">
          <a:solidFill>
            <a:schemeClr val="tx2"/>
          </a:solidFill>
          <a:latin typeface="Arial" charset="0"/>
        </a:defRPr>
      </a:lvl4pPr>
      <a:lvl5pPr algn="l" rtl="0" eaLnBrk="0" fontAlgn="base" hangingPunct="0">
        <a:lnSpc>
          <a:spcPts val="2600"/>
        </a:lnSpc>
        <a:spcBef>
          <a:spcPct val="0"/>
        </a:spcBef>
        <a:spcAft>
          <a:spcPct val="0"/>
        </a:spcAft>
        <a:defRPr sz="3200" b="1">
          <a:solidFill>
            <a:schemeClr val="tx2"/>
          </a:solidFill>
          <a:latin typeface="Arial" charset="0"/>
        </a:defRPr>
      </a:lvl5pPr>
      <a:lvl6pPr marL="457200" algn="l" rtl="0" eaLnBrk="1" fontAlgn="base" hangingPunct="1">
        <a:spcBef>
          <a:spcPct val="0"/>
        </a:spcBef>
        <a:spcAft>
          <a:spcPct val="0"/>
        </a:spcAft>
        <a:defRPr sz="2400" b="1">
          <a:solidFill>
            <a:schemeClr val="accent1"/>
          </a:solidFill>
          <a:latin typeface="Arial" charset="0"/>
        </a:defRPr>
      </a:lvl6pPr>
      <a:lvl7pPr marL="914400" algn="l" rtl="0" eaLnBrk="1" fontAlgn="base" hangingPunct="1">
        <a:spcBef>
          <a:spcPct val="0"/>
        </a:spcBef>
        <a:spcAft>
          <a:spcPct val="0"/>
        </a:spcAft>
        <a:defRPr sz="2400" b="1">
          <a:solidFill>
            <a:schemeClr val="accent1"/>
          </a:solidFill>
          <a:latin typeface="Arial" charset="0"/>
        </a:defRPr>
      </a:lvl7pPr>
      <a:lvl8pPr marL="1371600" algn="l" rtl="0" eaLnBrk="1" fontAlgn="base" hangingPunct="1">
        <a:spcBef>
          <a:spcPct val="0"/>
        </a:spcBef>
        <a:spcAft>
          <a:spcPct val="0"/>
        </a:spcAft>
        <a:defRPr sz="2400" b="1">
          <a:solidFill>
            <a:schemeClr val="accent1"/>
          </a:solidFill>
          <a:latin typeface="Arial" charset="0"/>
        </a:defRPr>
      </a:lvl8pPr>
      <a:lvl9pPr marL="1828800" algn="l" rtl="0" eaLnBrk="1" fontAlgn="base" hangingPunct="1">
        <a:spcBef>
          <a:spcPct val="0"/>
        </a:spcBef>
        <a:spcAft>
          <a:spcPct val="0"/>
        </a:spcAft>
        <a:defRPr sz="2400" b="1">
          <a:solidFill>
            <a:schemeClr val="accent1"/>
          </a:solidFill>
          <a:latin typeface="Arial" charset="0"/>
        </a:defRPr>
      </a:lvl9pPr>
    </p:titleStyle>
    <p:bodyStyle>
      <a:lvl1pPr algn="l" rtl="0" eaLnBrk="0" fontAlgn="base" hangingPunct="0">
        <a:spcBef>
          <a:spcPts val="2200"/>
        </a:spcBef>
        <a:spcAft>
          <a:spcPct val="0"/>
        </a:spcAft>
        <a:buFont typeface="Arial" charset="0"/>
        <a:defRPr lang="en-US" sz="2600" kern="1200" dirty="0">
          <a:solidFill>
            <a:schemeClr val="tx2"/>
          </a:solidFill>
          <a:latin typeface="+mn-lt"/>
          <a:ea typeface="+mn-ea"/>
          <a:cs typeface="Arial" pitchFamily="34" charset="0"/>
        </a:defRPr>
      </a:lvl1pPr>
      <a:lvl2pPr marL="233363" indent="-233363" algn="l" rtl="0" eaLnBrk="0" fontAlgn="base" hangingPunct="0">
        <a:spcBef>
          <a:spcPts val="400"/>
        </a:spcBef>
        <a:spcAft>
          <a:spcPct val="0"/>
        </a:spcAft>
        <a:buFont typeface="Arial" charset="0"/>
        <a:buChar char="•"/>
        <a:defRPr lang="en-US" sz="2600" kern="1200" dirty="0">
          <a:solidFill>
            <a:schemeClr val="tx2"/>
          </a:solidFill>
          <a:latin typeface="+mn-lt"/>
          <a:ea typeface="+mn-ea"/>
          <a:cs typeface="Arial" pitchFamily="34" charset="0"/>
        </a:defRPr>
      </a:lvl2pPr>
      <a:lvl3pPr marL="574675" indent="-234950" algn="l" rtl="0" eaLnBrk="0" fontAlgn="base" hangingPunct="0">
        <a:spcBef>
          <a:spcPts val="400"/>
        </a:spcBef>
        <a:spcAft>
          <a:spcPct val="0"/>
        </a:spcAft>
        <a:buFont typeface="Arial" charset="0"/>
        <a:buChar char="–"/>
        <a:defRPr lang="en-US" sz="2200" kern="1200" dirty="0">
          <a:solidFill>
            <a:schemeClr val="tx2"/>
          </a:solidFill>
          <a:latin typeface="+mn-lt"/>
          <a:ea typeface="+mn-ea"/>
          <a:cs typeface="Arial" charset="0"/>
        </a:defRPr>
      </a:lvl3pPr>
      <a:lvl4pPr marL="914400" indent="-223838" algn="l" rtl="0" eaLnBrk="0" fontAlgn="base" hangingPunct="0">
        <a:spcBef>
          <a:spcPts val="400"/>
        </a:spcBef>
        <a:spcAft>
          <a:spcPct val="0"/>
        </a:spcAft>
        <a:buFont typeface="Arial" charset="0"/>
        <a:buChar char="•"/>
        <a:defRPr lang="en-US" sz="2000" kern="1200" dirty="0">
          <a:solidFill>
            <a:schemeClr val="tx2"/>
          </a:solidFill>
          <a:latin typeface="Arial" pitchFamily="34" charset="0"/>
          <a:ea typeface="+mn-ea"/>
          <a:cs typeface="Arial" pitchFamily="34" charset="0"/>
        </a:defRPr>
      </a:lvl4pPr>
      <a:lvl5pPr marL="688975" indent="-173038" algn="l" rtl="0" eaLnBrk="0" fontAlgn="base" hangingPunct="0">
        <a:spcBef>
          <a:spcPts val="400"/>
        </a:spcBef>
        <a:spcAft>
          <a:spcPct val="0"/>
        </a:spcAft>
        <a:buFont typeface="Arial" charset="0"/>
        <a:buChar char="–"/>
        <a:defRPr lang="en-US" sz="1600" kern="1200" dirty="0">
          <a:solidFill>
            <a:schemeClr val="tx2"/>
          </a:solidFill>
          <a:latin typeface="Arial" pitchFamily="34" charset="0"/>
          <a:ea typeface="+mn-ea"/>
          <a:cs typeface="Arial" pitchFamily="34" charset="0"/>
        </a:defRPr>
      </a:lvl5pPr>
      <a:lvl6pPr marL="666750" marR="0" indent="-166688" algn="l" defTabSz="914400" rtl="0" eaLnBrk="1" fontAlgn="base" latinLnBrk="0" hangingPunct="1">
        <a:lnSpc>
          <a:spcPct val="100000"/>
        </a:lnSpc>
        <a:spcBef>
          <a:spcPts val="400"/>
        </a:spcBef>
        <a:spcAft>
          <a:spcPct val="0"/>
        </a:spcAft>
        <a:buFont typeface="Arial" pitchFamily="34" charset="0"/>
        <a:buChar char="–"/>
        <a:tabLst/>
        <a:defRPr kumimoji="0" lang="en-US" sz="1000" b="0" i="0" u="none" strike="noStrike" kern="1200" cap="none" normalizeH="0" baseline="0" dirty="0" smtClean="0">
          <a:ln>
            <a:noFill/>
          </a:ln>
          <a:solidFill>
            <a:schemeClr val="tx2"/>
          </a:solidFill>
          <a:effectLst/>
          <a:latin typeface="Arial" pitchFamily="34" charset="0"/>
          <a:ea typeface="+mn-ea"/>
          <a:cs typeface="Arial" pitchFamily="34" charset="0"/>
        </a:defRPr>
      </a:lvl6pPr>
      <a:lvl7pPr marL="1079500" indent="-184150"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7pPr>
      <a:lvl8pPr marL="1252538" indent="-173038"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8pPr>
      <a:lvl9pPr marL="1435100" indent="-182563"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5.xml"/></Relationships>
</file>

<file path=ppt/slides/_rels/slide1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5.xml"/></Relationships>
</file>

<file path=ppt/slides/_rels/slide24.xml.rels><?xml version="1.0" encoding="UTF-8" standalone="yes"?>
<Relationships xmlns="http://schemas.openxmlformats.org/package/2006/relationships"><Relationship Id="rId3" Type="http://schemas.openxmlformats.org/officeDocument/2006/relationships/hyperlink" Target="mailto:mahmed@deloitte.com" TargetMode="External"/><Relationship Id="rId2" Type="http://schemas.openxmlformats.org/officeDocument/2006/relationships/notesSlide" Target="../notesSlides/notesSlide24.xml"/><Relationship Id="rId1" Type="http://schemas.openxmlformats.org/officeDocument/2006/relationships/slideLayout" Target="../slideLayouts/slideLayout3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7.xml"/></Relationships>
</file>

<file path=ppt/slides/_rels/slide26.xml.rels><?xml version="1.0" encoding="UTF-8" standalone="yes"?>
<Relationships xmlns="http://schemas.openxmlformats.org/package/2006/relationships"><Relationship Id="rId3" Type="http://schemas.openxmlformats.org/officeDocument/2006/relationships/hyperlink" Target="http://www.deloitte.com/about" TargetMode="External"/><Relationship Id="rId2" Type="http://schemas.openxmlformats.org/officeDocument/2006/relationships/notesSlide" Target="../notesSlides/notesSlide26.xml"/><Relationship Id="rId1" Type="http://schemas.openxmlformats.org/officeDocument/2006/relationships/slideLayout" Target="../slideLayouts/slideLayout21.xml"/><Relationship Id="rId4" Type="http://schemas.openxmlformats.org/officeDocument/2006/relationships/hyperlink" Target="http://www.deloitte.com/us/about"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90" name="Rectangle 34"/>
          <p:cNvSpPr>
            <a:spLocks noGrp="1"/>
          </p:cNvSpPr>
          <p:nvPr>
            <p:ph type="ctrTitle"/>
          </p:nvPr>
        </p:nvSpPr>
        <p:spPr>
          <a:xfrm>
            <a:off x="1142999" y="2536983"/>
            <a:ext cx="4690872" cy="837152"/>
          </a:xfrm>
        </p:spPr>
        <p:txBody>
          <a:bodyPr/>
          <a:lstStyle/>
          <a:p>
            <a:r>
              <a:rPr lang="en-US" dirty="0" smtClean="0"/>
              <a:t>Elements of an Effective Anti-Corruption Program</a:t>
            </a:r>
            <a:endParaRPr lang="en-US" dirty="0"/>
          </a:p>
        </p:txBody>
      </p:sp>
      <p:sp>
        <p:nvSpPr>
          <p:cNvPr id="121891" name="Rectangle 35"/>
          <p:cNvSpPr>
            <a:spLocks noGrp="1"/>
          </p:cNvSpPr>
          <p:nvPr>
            <p:ph type="subTitle" idx="1"/>
          </p:nvPr>
        </p:nvSpPr>
        <p:spPr>
          <a:xfrm>
            <a:off x="1142999" y="3689350"/>
            <a:ext cx="4690872" cy="307777"/>
          </a:xfrm>
        </p:spPr>
        <p:txBody>
          <a:bodyPr/>
          <a:lstStyle/>
          <a:p>
            <a:r>
              <a:rPr lang="en-US" dirty="0" smtClean="0">
                <a:solidFill>
                  <a:schemeClr val="accent1"/>
                </a:solidFill>
              </a:rPr>
              <a:t>March 26, 2012</a:t>
            </a:r>
            <a:endParaRPr lang="en-US" dirty="0">
              <a:solidFill>
                <a:schemeClr val="accent1"/>
              </a:solidFill>
            </a:endParaRPr>
          </a:p>
        </p:txBody>
      </p:sp>
      <p:sp>
        <p:nvSpPr>
          <p:cNvPr id="11" name="Rectangle 35"/>
          <p:cNvSpPr txBox="1">
            <a:spLocks/>
          </p:cNvSpPr>
          <p:nvPr/>
        </p:nvSpPr>
        <p:spPr bwMode="gray">
          <a:xfrm>
            <a:off x="1128714" y="5640169"/>
            <a:ext cx="5245710" cy="430887"/>
          </a:xfrm>
          <a:prstGeom prst="rect">
            <a:avLst/>
          </a:prstGeom>
        </p:spPr>
        <p:txBody>
          <a:bodyPr vert="horz" wrap="square" lIns="0" tIns="0" rIns="0" bIns="0" rtlCol="0">
            <a:spAutoFit/>
          </a:bodyPr>
          <a:lstStyle/>
          <a:p>
            <a:pPr marL="0" marR="0" lvl="0" indent="0" algn="l" defTabSz="914400" rtl="0" eaLnBrk="1" fontAlgn="base" latinLnBrk="0" hangingPunct="1">
              <a:lnSpc>
                <a:spcPct val="100000"/>
              </a:lnSpc>
              <a:spcBef>
                <a:spcPts val="0"/>
              </a:spcBef>
              <a:spcAft>
                <a:spcPct val="0"/>
              </a:spcAft>
              <a:buClr>
                <a:schemeClr val="bg2"/>
              </a:buClr>
              <a:buSzTx/>
              <a:buFont typeface="Arial" pitchFamily="34" charset="0"/>
              <a:buNone/>
              <a:tabLst/>
              <a:defRPr/>
            </a:pPr>
            <a:r>
              <a:rPr kumimoji="0" lang="en-US" sz="1400" b="0" u="none" strike="noStrike" kern="1200" cap="none" spc="0" normalizeH="0" baseline="0" noProof="0" dirty="0" smtClean="0">
                <a:ln>
                  <a:noFill/>
                </a:ln>
                <a:solidFill>
                  <a:schemeClr val="tx2"/>
                </a:solidFill>
                <a:effectLst/>
                <a:uLnTx/>
                <a:uFillTx/>
                <a:latin typeface="+mj-lt"/>
                <a:ea typeface="Verdana" pitchFamily="34" charset="0"/>
                <a:cs typeface="Times New Roman" pitchFamily="18" charset="0"/>
              </a:rPr>
              <a:t>Mohammed Ahmed</a:t>
            </a:r>
          </a:p>
          <a:p>
            <a:pPr marL="0" marR="0" lvl="0" indent="0" algn="l" defTabSz="914400" rtl="0" eaLnBrk="1" fontAlgn="base" latinLnBrk="0" hangingPunct="1">
              <a:lnSpc>
                <a:spcPct val="100000"/>
              </a:lnSpc>
              <a:spcBef>
                <a:spcPts val="0"/>
              </a:spcBef>
              <a:spcAft>
                <a:spcPct val="0"/>
              </a:spcAft>
              <a:buClr>
                <a:schemeClr val="bg2"/>
              </a:buClr>
              <a:buSzTx/>
              <a:buFont typeface="Arial" pitchFamily="34" charset="0"/>
              <a:buNone/>
              <a:tabLst/>
              <a:defRPr/>
            </a:pPr>
            <a:r>
              <a:rPr kumimoji="0" lang="en-US" sz="1400" b="0" u="none" strike="noStrike" kern="1200" cap="none" spc="0" normalizeH="0" baseline="0" noProof="0" dirty="0" smtClean="0">
                <a:ln>
                  <a:noFill/>
                </a:ln>
                <a:solidFill>
                  <a:schemeClr val="tx2"/>
                </a:solidFill>
                <a:effectLst/>
                <a:uLnTx/>
                <a:uFillTx/>
                <a:latin typeface="+mj-lt"/>
                <a:ea typeface="Verdana" pitchFamily="34" charset="0"/>
                <a:cs typeface="Times New Roman" pitchFamily="18" charset="0"/>
              </a:rPr>
              <a:t>Deloitte Financial Advisory Services LLP </a:t>
            </a:r>
            <a:endParaRPr kumimoji="0" lang="en-US" sz="1400" b="0" u="none" strike="noStrike" kern="1200" cap="none" spc="0" normalizeH="0" baseline="0" noProof="0" dirty="0">
              <a:ln>
                <a:noFill/>
              </a:ln>
              <a:solidFill>
                <a:schemeClr val="tx2"/>
              </a:solidFill>
              <a:effectLst/>
              <a:uLnTx/>
              <a:uFillTx/>
              <a:latin typeface="+mj-lt"/>
              <a:ea typeface="Verdana" pitchFamily="34" charset="0"/>
              <a:cs typeface="Times New Roman" pitchFamily="18" charset="0"/>
            </a:endParaRPr>
          </a:p>
        </p:txBody>
      </p:sp>
      <p:pic>
        <p:nvPicPr>
          <p:cNvPr id="614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24476" y="2590800"/>
            <a:ext cx="3457574" cy="27908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7877437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a:xfrm>
            <a:off x="452884" y="370069"/>
            <a:ext cx="5692775" cy="333425"/>
          </a:xfrm>
        </p:spPr>
        <p:txBody>
          <a:bodyPr/>
          <a:lstStyle/>
          <a:p>
            <a:pPr eaLnBrk="1" hangingPunct="1"/>
            <a:r>
              <a:rPr lang="en-US" sz="2400" dirty="0"/>
              <a:t>U.K. Bribery </a:t>
            </a:r>
            <a:r>
              <a:rPr lang="en-US" sz="2400" dirty="0" smtClean="0"/>
              <a:t>Act (Contd.)</a:t>
            </a:r>
            <a:endParaRPr lang="en-US" sz="2400" dirty="0"/>
          </a:p>
        </p:txBody>
      </p:sp>
      <p:sp>
        <p:nvSpPr>
          <p:cNvPr id="4" name="Content Placeholder 6"/>
          <p:cNvSpPr>
            <a:spLocks noGrp="1"/>
          </p:cNvSpPr>
          <p:nvPr>
            <p:ph sz="quarter" idx="4294967295"/>
          </p:nvPr>
        </p:nvSpPr>
        <p:spPr>
          <a:xfrm>
            <a:off x="382137" y="1252864"/>
            <a:ext cx="8418229" cy="4221669"/>
          </a:xfrm>
          <a:prstGeom prst="rect">
            <a:avLst/>
          </a:prstGeom>
        </p:spPr>
        <p:txBody>
          <a:bodyPr wrap="square">
            <a:spAutoFit/>
          </a:bodyPr>
          <a:lstStyle/>
          <a:p>
            <a:pPr lvl="1">
              <a:buFont typeface="Arial" charset="0"/>
              <a:buChar char="•"/>
            </a:pPr>
            <a:r>
              <a:rPr sz="2000" dirty="0">
                <a:cs typeface="Arial" charset="0"/>
              </a:rPr>
              <a:t>The guidance </a:t>
            </a:r>
            <a:r>
              <a:rPr sz="2000" dirty="0" smtClean="0">
                <a:cs typeface="Arial" charset="0"/>
              </a:rPr>
              <a:t>is </a:t>
            </a:r>
            <a:r>
              <a:rPr sz="2000" dirty="0">
                <a:cs typeface="Arial" charset="0"/>
              </a:rPr>
              <a:t>designed to assist organizations in implementing adequate procedures and sets out six key principles to those </a:t>
            </a:r>
            <a:r>
              <a:rPr sz="2000" dirty="0" smtClean="0">
                <a:cs typeface="Arial" charset="0"/>
              </a:rPr>
              <a:t>procedures</a:t>
            </a:r>
            <a:endParaRPr sz="2000" dirty="0">
              <a:cs typeface="Arial" charset="0"/>
            </a:endParaRPr>
          </a:p>
          <a:p>
            <a:pPr lvl="1">
              <a:buFont typeface="Arial" charset="0"/>
              <a:buChar char="•"/>
            </a:pPr>
            <a:r>
              <a:rPr sz="2000" dirty="0">
                <a:cs typeface="Arial" charset="0"/>
              </a:rPr>
              <a:t>The “Six Principles for Bribery Prevention” are:</a:t>
            </a:r>
          </a:p>
          <a:p>
            <a:pPr lvl="2">
              <a:buFont typeface="Arial" charset="0"/>
              <a:buChar char="–"/>
            </a:pPr>
            <a:r>
              <a:rPr sz="1800" dirty="0">
                <a:cs typeface="Arial" charset="0"/>
              </a:rPr>
              <a:t>Proportionate </a:t>
            </a:r>
            <a:r>
              <a:rPr sz="1800" dirty="0" smtClean="0">
                <a:cs typeface="Arial" charset="0"/>
              </a:rPr>
              <a:t>procedures</a:t>
            </a:r>
            <a:endParaRPr sz="1800" dirty="0">
              <a:cs typeface="Arial" charset="0"/>
            </a:endParaRPr>
          </a:p>
          <a:p>
            <a:pPr lvl="2">
              <a:buFont typeface="Arial" charset="0"/>
              <a:buChar char="–"/>
            </a:pPr>
            <a:r>
              <a:rPr sz="1800" dirty="0">
                <a:cs typeface="Arial" charset="0"/>
              </a:rPr>
              <a:t>Top level commitment</a:t>
            </a:r>
          </a:p>
          <a:p>
            <a:pPr lvl="2">
              <a:buFont typeface="Arial" charset="0"/>
              <a:buChar char="–"/>
            </a:pPr>
            <a:r>
              <a:rPr sz="1800" dirty="0">
                <a:cs typeface="Arial" charset="0"/>
              </a:rPr>
              <a:t>Risk assessment</a:t>
            </a:r>
          </a:p>
          <a:p>
            <a:pPr lvl="2">
              <a:buFont typeface="Arial" charset="0"/>
              <a:buChar char="–"/>
            </a:pPr>
            <a:r>
              <a:rPr sz="1800" dirty="0">
                <a:cs typeface="Arial" charset="0"/>
              </a:rPr>
              <a:t>Due diligence</a:t>
            </a:r>
          </a:p>
          <a:p>
            <a:pPr lvl="2">
              <a:buFont typeface="Arial" charset="0"/>
              <a:buChar char="–"/>
            </a:pPr>
            <a:r>
              <a:rPr sz="1800" dirty="0">
                <a:cs typeface="Arial" charset="0"/>
              </a:rPr>
              <a:t>Communication (including training) </a:t>
            </a:r>
          </a:p>
          <a:p>
            <a:pPr lvl="2">
              <a:buFont typeface="Arial" charset="0"/>
              <a:buChar char="–"/>
            </a:pPr>
            <a:r>
              <a:rPr sz="1800" dirty="0">
                <a:cs typeface="Arial" charset="0"/>
              </a:rPr>
              <a:t>Monitoring and </a:t>
            </a:r>
            <a:r>
              <a:rPr sz="1800" dirty="0" smtClean="0">
                <a:cs typeface="Arial" charset="0"/>
              </a:rPr>
              <a:t>review</a:t>
            </a:r>
            <a:endParaRPr lang="en-US" sz="1800" dirty="0" smtClean="0">
              <a:cs typeface="Arial" charset="0"/>
            </a:endParaRPr>
          </a:p>
          <a:p>
            <a:pPr lvl="2" eaLnBrk="1" hangingPunct="1">
              <a:spcBef>
                <a:spcPts val="600"/>
              </a:spcBef>
              <a:buFont typeface="Arial" pitchFamily="34" charset="0"/>
              <a:buNone/>
              <a:defRPr/>
            </a:pPr>
            <a:endParaRPr lang="en-US" sz="1200" dirty="0" smtClean="0"/>
          </a:p>
          <a:p>
            <a:pPr lvl="1">
              <a:buFont typeface="Arial" charset="0"/>
              <a:buChar char="–"/>
            </a:pPr>
            <a:endParaRPr sz="2000" dirty="0">
              <a:cs typeface="Arial" charset="0"/>
            </a:endParaRPr>
          </a:p>
          <a:p>
            <a:pPr lvl="1">
              <a:buFont typeface="Arial" charset="0"/>
              <a:buChar char="•"/>
            </a:pPr>
            <a:endParaRPr sz="1800" dirty="0">
              <a:cs typeface="Arial" charset="0"/>
            </a:endParaRPr>
          </a:p>
          <a:p>
            <a:pPr lvl="1">
              <a:buFont typeface="Arial" charset="0"/>
              <a:buChar char="•"/>
            </a:pPr>
            <a:endParaRPr sz="1800" dirty="0">
              <a:cs typeface="Arial" charset="0"/>
            </a:endParaRPr>
          </a:p>
        </p:txBody>
      </p:sp>
    </p:spTree>
    <p:extLst>
      <p:ext uri="{BB962C8B-B14F-4D97-AF65-F5344CB8AC3E}">
        <p14:creationId xmlns:p14="http://schemas.microsoft.com/office/powerpoint/2010/main" val="359101077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le 1"/>
          <p:cNvSpPr>
            <a:spLocks noGrp="1"/>
          </p:cNvSpPr>
          <p:nvPr>
            <p:ph type="title"/>
          </p:nvPr>
        </p:nvSpPr>
        <p:spPr>
          <a:xfrm>
            <a:off x="404037" y="313661"/>
            <a:ext cx="8329612" cy="343492"/>
          </a:xfrm>
        </p:spPr>
        <p:txBody>
          <a:bodyPr anchor="t"/>
          <a:lstStyle/>
          <a:p>
            <a:pPr eaLnBrk="1" hangingPunct="1"/>
            <a:r>
              <a:rPr lang="en-US" sz="2400" dirty="0"/>
              <a:t>Global Corruption Perception </a:t>
            </a:r>
            <a:r>
              <a:rPr lang="en-US" sz="2400" dirty="0" smtClean="0"/>
              <a:t>Index</a:t>
            </a:r>
            <a:endParaRPr lang="en-US" sz="2400" dirty="0"/>
          </a:p>
        </p:txBody>
      </p:sp>
      <p:pic>
        <p:nvPicPr>
          <p:cNvPr id="5" name="Picture 2"/>
          <p:cNvPicPr>
            <a:picLocks noGrp="1" noChangeAspect="1" noChangeArrowheads="1"/>
          </p:cNvPicPr>
          <p:nvPr>
            <p:ph idx="1"/>
          </p:nvPr>
        </p:nvPicPr>
        <p:blipFill>
          <a:blip r:embed="rId3" cstate="print"/>
          <a:stretch>
            <a:fillRect/>
          </a:stretch>
        </p:blipFill>
        <p:spPr bwMode="auto">
          <a:xfrm>
            <a:off x="408582" y="1143000"/>
            <a:ext cx="8735418" cy="4953000"/>
          </a:xfrm>
          <a:prstGeom prst="rect">
            <a:avLst/>
          </a:prstGeom>
          <a:noFill/>
          <a:ln>
            <a:noFill/>
          </a:ln>
        </p:spPr>
      </p:pic>
      <p:sp>
        <p:nvSpPr>
          <p:cNvPr id="4" name="Footer Placeholder 4"/>
          <p:cNvSpPr txBox="1">
            <a:spLocks/>
          </p:cNvSpPr>
          <p:nvPr/>
        </p:nvSpPr>
        <p:spPr>
          <a:xfrm>
            <a:off x="5873896" y="6172201"/>
            <a:ext cx="3117704" cy="304800"/>
          </a:xfrm>
          <a:prstGeom prst="rect">
            <a:avLst/>
          </a:prstGeo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smtClean="0">
                <a:ln>
                  <a:noFill/>
                </a:ln>
                <a:solidFill>
                  <a:schemeClr val="tx1"/>
                </a:solidFill>
                <a:effectLst/>
                <a:uLnTx/>
                <a:uFillTx/>
                <a:latin typeface="Arial" pitchFamily="34" charset="0"/>
                <a:ea typeface="+mn-ea"/>
                <a:cs typeface="+mn-cs"/>
              </a:rPr>
              <a:t>Source; Transparency International:</a:t>
            </a:r>
            <a:r>
              <a:rPr kumimoji="0" lang="en-US" sz="1000" b="0" i="0" u="none" strike="noStrike" kern="1200" cap="none" spc="0" normalizeH="0" noProof="0" dirty="0" smtClean="0">
                <a:ln>
                  <a:noFill/>
                </a:ln>
                <a:solidFill>
                  <a:schemeClr val="tx1"/>
                </a:solidFill>
                <a:effectLst/>
                <a:uLnTx/>
                <a:uFillTx/>
                <a:latin typeface="Arial" pitchFamily="34" charset="0"/>
                <a:ea typeface="+mn-ea"/>
                <a:cs typeface="+mn-cs"/>
              </a:rPr>
              <a:t>  2010 Index</a:t>
            </a:r>
            <a:endParaRPr kumimoji="0" lang="en-US" sz="1000" b="0" i="0" u="none" strike="noStrike" kern="1200" cap="none" spc="0" normalizeH="0" baseline="0" noProof="0" dirty="0">
              <a:ln>
                <a:noFill/>
              </a:ln>
              <a:solidFill>
                <a:schemeClr val="tx1"/>
              </a:solidFill>
              <a:effectLst/>
              <a:uLnTx/>
              <a:uFillTx/>
              <a:latin typeface="Arial" pitchFamily="34" charset="0"/>
              <a:ea typeface="+mn-ea"/>
              <a:cs typeface="+mn-cs"/>
            </a:endParaRPr>
          </a:p>
        </p:txBody>
      </p:sp>
    </p:spTree>
    <p:extLst>
      <p:ext uri="{BB962C8B-B14F-4D97-AF65-F5344CB8AC3E}">
        <p14:creationId xmlns:p14="http://schemas.microsoft.com/office/powerpoint/2010/main" val="40474506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1480" y="1464323"/>
            <a:ext cx="8330184" cy="2040559"/>
          </a:xfrm>
        </p:spPr>
        <p:txBody>
          <a:bodyPr/>
          <a:lstStyle/>
          <a:p>
            <a:r>
              <a:rPr lang="en-US" dirty="0" smtClean="0"/>
              <a:t>Elements of an Effective Anti-Corruption Compliance Program</a:t>
            </a:r>
            <a:endParaRPr lang="en-US" dirty="0"/>
          </a:p>
        </p:txBody>
      </p:sp>
    </p:spTree>
    <p:extLst>
      <p:ext uri="{BB962C8B-B14F-4D97-AF65-F5344CB8AC3E}">
        <p14:creationId xmlns:p14="http://schemas.microsoft.com/office/powerpoint/2010/main" val="1609343139"/>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63" name="Rectangle 27"/>
          <p:cNvSpPr>
            <a:spLocks noGrp="1"/>
          </p:cNvSpPr>
          <p:nvPr>
            <p:ph type="title"/>
          </p:nvPr>
        </p:nvSpPr>
        <p:spPr bwMode="gray">
          <a:xfrm>
            <a:off x="414338" y="209682"/>
            <a:ext cx="8729662" cy="369332"/>
          </a:xfrm>
        </p:spPr>
        <p:txBody>
          <a:bodyPr/>
          <a:lstStyle/>
          <a:p>
            <a:r>
              <a:rPr lang="en-US" sz="2400" dirty="0" smtClean="0"/>
              <a:t>US Federal sentencing guidelines</a:t>
            </a:r>
          </a:p>
        </p:txBody>
      </p:sp>
      <p:sp>
        <p:nvSpPr>
          <p:cNvPr id="8" name="AutoShape 2"/>
          <p:cNvSpPr>
            <a:spLocks noChangeArrowheads="1"/>
          </p:cNvSpPr>
          <p:nvPr/>
        </p:nvSpPr>
        <p:spPr bwMode="gray">
          <a:xfrm>
            <a:off x="2098042" y="1503026"/>
            <a:ext cx="6684008" cy="4576762"/>
          </a:xfrm>
          <a:prstGeom prst="rect">
            <a:avLst/>
          </a:prstGeom>
          <a:solidFill>
            <a:srgbClr val="7F7F7F"/>
          </a:solidFill>
          <a:ln w="9525">
            <a:solidFill>
              <a:srgbClr val="FFCC00"/>
            </a:solidFill>
            <a:round/>
            <a:headEnd/>
            <a:tailEnd/>
          </a:ln>
        </p:spPr>
        <p:txBody>
          <a:bodyPr wrap="none" anchor="ctr"/>
          <a:lstStyle/>
          <a:p>
            <a:pPr>
              <a:lnSpc>
                <a:spcPct val="85000"/>
              </a:lnSpc>
              <a:spcBef>
                <a:spcPct val="50000"/>
              </a:spcBef>
              <a:defRPr/>
            </a:pPr>
            <a:endParaRPr lang="en-US" sz="1400" b="0" kern="0" dirty="0">
              <a:solidFill>
                <a:srgbClr val="330066"/>
              </a:solidFill>
              <a:latin typeface="Arial" charset="0"/>
            </a:endParaRPr>
          </a:p>
        </p:txBody>
      </p:sp>
      <p:sp>
        <p:nvSpPr>
          <p:cNvPr id="9" name="AutoShape 3"/>
          <p:cNvSpPr>
            <a:spLocks noChangeArrowheads="1"/>
          </p:cNvSpPr>
          <p:nvPr/>
        </p:nvSpPr>
        <p:spPr bwMode="gray">
          <a:xfrm>
            <a:off x="2905100" y="1689848"/>
            <a:ext cx="5186122" cy="402610"/>
          </a:xfrm>
          <a:prstGeom prst="rect">
            <a:avLst/>
          </a:prstGeom>
          <a:solidFill>
            <a:schemeClr val="accent5"/>
          </a:solidFill>
          <a:ln w="9525" algn="ctr">
            <a:solidFill>
              <a:schemeClr val="bg2"/>
            </a:solidFill>
            <a:round/>
            <a:headEnd/>
            <a:tailEnd/>
          </a:ln>
        </p:spPr>
        <p:txBody>
          <a:bodyPr lIns="46648" tIns="46648" rIns="46648" bIns="46648"/>
          <a:lstStyle/>
          <a:p>
            <a:pPr algn="l" defTabSz="933450">
              <a:spcBef>
                <a:spcPct val="50000"/>
              </a:spcBef>
              <a:defRPr/>
            </a:pPr>
            <a:r>
              <a:rPr lang="en-US" sz="2000" kern="0" dirty="0">
                <a:solidFill>
                  <a:srgbClr val="FFFFFF"/>
                </a:solidFill>
                <a:latin typeface="Arial" charset="0"/>
              </a:rPr>
              <a:t>1. Program Structure and Oversight</a:t>
            </a:r>
          </a:p>
        </p:txBody>
      </p:sp>
      <p:sp>
        <p:nvSpPr>
          <p:cNvPr id="10" name="AutoShape 4"/>
          <p:cNvSpPr>
            <a:spLocks noChangeArrowheads="1"/>
          </p:cNvSpPr>
          <p:nvPr/>
        </p:nvSpPr>
        <p:spPr bwMode="gray">
          <a:xfrm>
            <a:off x="2905100" y="2069286"/>
            <a:ext cx="5186122" cy="435920"/>
          </a:xfrm>
          <a:prstGeom prst="rect">
            <a:avLst/>
          </a:prstGeom>
          <a:solidFill>
            <a:schemeClr val="accent5"/>
          </a:solidFill>
          <a:ln w="9525" algn="ctr">
            <a:solidFill>
              <a:schemeClr val="bg2"/>
            </a:solidFill>
            <a:round/>
            <a:headEnd/>
            <a:tailEnd/>
          </a:ln>
        </p:spPr>
        <p:txBody>
          <a:bodyPr lIns="46648" tIns="46648" rIns="46648" bIns="46648"/>
          <a:lstStyle/>
          <a:p>
            <a:pPr algn="l" defTabSz="933450">
              <a:spcBef>
                <a:spcPct val="50000"/>
              </a:spcBef>
              <a:defRPr/>
            </a:pPr>
            <a:r>
              <a:rPr lang="en-US" sz="2000" kern="0" dirty="0">
                <a:solidFill>
                  <a:srgbClr val="FFFFFF"/>
                </a:solidFill>
                <a:latin typeface="Arial" charset="0"/>
              </a:rPr>
              <a:t>2. Policies and Procedures</a:t>
            </a:r>
          </a:p>
        </p:txBody>
      </p:sp>
      <p:sp>
        <p:nvSpPr>
          <p:cNvPr id="12" name="AutoShape 6"/>
          <p:cNvSpPr>
            <a:spLocks noChangeArrowheads="1"/>
          </p:cNvSpPr>
          <p:nvPr/>
        </p:nvSpPr>
        <p:spPr bwMode="gray">
          <a:xfrm>
            <a:off x="2905100" y="2490724"/>
            <a:ext cx="5186122" cy="402610"/>
          </a:xfrm>
          <a:prstGeom prst="rect">
            <a:avLst/>
          </a:prstGeom>
          <a:solidFill>
            <a:schemeClr val="accent5"/>
          </a:solidFill>
          <a:ln w="9525" algn="ctr">
            <a:solidFill>
              <a:schemeClr val="bg2"/>
            </a:solidFill>
            <a:round/>
            <a:headEnd/>
            <a:tailEnd/>
          </a:ln>
        </p:spPr>
        <p:txBody>
          <a:bodyPr lIns="46648" tIns="46648" rIns="46648" bIns="46648"/>
          <a:lstStyle/>
          <a:p>
            <a:pPr algn="l" defTabSz="933450">
              <a:spcBef>
                <a:spcPct val="50000"/>
              </a:spcBef>
              <a:defRPr/>
            </a:pPr>
            <a:r>
              <a:rPr lang="en-US" sz="2000" kern="0" dirty="0">
                <a:solidFill>
                  <a:srgbClr val="FFFFFF"/>
                </a:solidFill>
                <a:latin typeface="Arial" charset="0"/>
              </a:rPr>
              <a:t>3. </a:t>
            </a:r>
            <a:r>
              <a:rPr lang="en-US" sz="2000" kern="0" dirty="0" smtClean="0">
                <a:solidFill>
                  <a:srgbClr val="FFFFFF"/>
                </a:solidFill>
                <a:latin typeface="Arial" charset="0"/>
              </a:rPr>
              <a:t>Training and Education</a:t>
            </a:r>
            <a:endParaRPr lang="en-US" sz="2000" kern="0" dirty="0">
              <a:solidFill>
                <a:srgbClr val="FFFFFF"/>
              </a:solidFill>
              <a:latin typeface="Arial" charset="0"/>
            </a:endParaRPr>
          </a:p>
        </p:txBody>
      </p:sp>
      <p:sp>
        <p:nvSpPr>
          <p:cNvPr id="13" name="AutoShape 7"/>
          <p:cNvSpPr>
            <a:spLocks noChangeArrowheads="1"/>
          </p:cNvSpPr>
          <p:nvPr/>
        </p:nvSpPr>
        <p:spPr bwMode="gray">
          <a:xfrm>
            <a:off x="2905100" y="2875955"/>
            <a:ext cx="5186122" cy="402610"/>
          </a:xfrm>
          <a:prstGeom prst="rect">
            <a:avLst/>
          </a:prstGeom>
          <a:solidFill>
            <a:schemeClr val="accent5"/>
          </a:solidFill>
          <a:ln w="9525" algn="ctr">
            <a:solidFill>
              <a:schemeClr val="bg2"/>
            </a:solidFill>
            <a:round/>
            <a:headEnd/>
            <a:tailEnd/>
          </a:ln>
        </p:spPr>
        <p:txBody>
          <a:bodyPr lIns="46648" tIns="46648" rIns="46648" bIns="46648"/>
          <a:lstStyle/>
          <a:p>
            <a:pPr algn="l" defTabSz="933450">
              <a:spcBef>
                <a:spcPct val="50000"/>
              </a:spcBef>
              <a:defRPr/>
            </a:pPr>
            <a:r>
              <a:rPr lang="en-US" sz="2000" kern="0" dirty="0">
                <a:solidFill>
                  <a:srgbClr val="FFFFFF"/>
                </a:solidFill>
                <a:latin typeface="Arial" charset="0"/>
              </a:rPr>
              <a:t>4. Communication</a:t>
            </a:r>
          </a:p>
        </p:txBody>
      </p:sp>
      <p:sp>
        <p:nvSpPr>
          <p:cNvPr id="14" name="AutoShape 8"/>
          <p:cNvSpPr>
            <a:spLocks noChangeArrowheads="1"/>
          </p:cNvSpPr>
          <p:nvPr/>
        </p:nvSpPr>
        <p:spPr bwMode="gray">
          <a:xfrm>
            <a:off x="2905100" y="3246703"/>
            <a:ext cx="5186122" cy="402610"/>
          </a:xfrm>
          <a:prstGeom prst="rect">
            <a:avLst/>
          </a:prstGeom>
          <a:solidFill>
            <a:schemeClr val="accent5"/>
          </a:solidFill>
          <a:ln w="9525" algn="ctr">
            <a:solidFill>
              <a:schemeClr val="bg2"/>
            </a:solidFill>
            <a:round/>
            <a:headEnd/>
            <a:tailEnd/>
          </a:ln>
        </p:spPr>
        <p:txBody>
          <a:bodyPr lIns="46648" tIns="46648" rIns="46648" bIns="46648"/>
          <a:lstStyle/>
          <a:p>
            <a:pPr algn="l" defTabSz="933450">
              <a:spcBef>
                <a:spcPct val="50000"/>
              </a:spcBef>
              <a:defRPr/>
            </a:pPr>
            <a:r>
              <a:rPr lang="en-US" sz="2000" kern="0" dirty="0">
                <a:solidFill>
                  <a:srgbClr val="FFFFFF"/>
                </a:solidFill>
                <a:latin typeface="Arial" charset="0"/>
              </a:rPr>
              <a:t>5. Monitoring and Auditing</a:t>
            </a:r>
          </a:p>
        </p:txBody>
      </p:sp>
      <p:sp>
        <p:nvSpPr>
          <p:cNvPr id="15" name="AutoShape 9"/>
          <p:cNvSpPr>
            <a:spLocks noChangeArrowheads="1"/>
          </p:cNvSpPr>
          <p:nvPr/>
        </p:nvSpPr>
        <p:spPr bwMode="gray">
          <a:xfrm>
            <a:off x="2905100" y="3608762"/>
            <a:ext cx="5186122" cy="435919"/>
          </a:xfrm>
          <a:prstGeom prst="rect">
            <a:avLst/>
          </a:prstGeom>
          <a:solidFill>
            <a:schemeClr val="accent5"/>
          </a:solidFill>
          <a:ln w="9525" algn="ctr">
            <a:solidFill>
              <a:schemeClr val="bg2"/>
            </a:solidFill>
            <a:round/>
            <a:headEnd/>
            <a:tailEnd/>
          </a:ln>
        </p:spPr>
        <p:txBody>
          <a:bodyPr lIns="46648" tIns="46648" rIns="46648" bIns="46648"/>
          <a:lstStyle/>
          <a:p>
            <a:pPr algn="l" defTabSz="933450">
              <a:spcBef>
                <a:spcPct val="50000"/>
              </a:spcBef>
              <a:defRPr/>
            </a:pPr>
            <a:r>
              <a:rPr lang="en-US" sz="2000" kern="0" dirty="0">
                <a:solidFill>
                  <a:srgbClr val="FFFFFF"/>
                </a:solidFill>
                <a:latin typeface="Arial" charset="0"/>
              </a:rPr>
              <a:t>6. Enforcement and Incentives</a:t>
            </a:r>
          </a:p>
        </p:txBody>
      </p:sp>
      <p:sp>
        <p:nvSpPr>
          <p:cNvPr id="16" name="AutoShape 10"/>
          <p:cNvSpPr>
            <a:spLocks noChangeArrowheads="1"/>
          </p:cNvSpPr>
          <p:nvPr/>
        </p:nvSpPr>
        <p:spPr bwMode="gray">
          <a:xfrm>
            <a:off x="2905100" y="4022958"/>
            <a:ext cx="5186122" cy="486608"/>
          </a:xfrm>
          <a:prstGeom prst="rect">
            <a:avLst/>
          </a:prstGeom>
          <a:solidFill>
            <a:schemeClr val="accent5"/>
          </a:solidFill>
          <a:ln w="9525" algn="ctr">
            <a:solidFill>
              <a:schemeClr val="bg2"/>
            </a:solidFill>
            <a:round/>
            <a:headEnd/>
            <a:tailEnd/>
          </a:ln>
        </p:spPr>
        <p:txBody>
          <a:bodyPr lIns="46648" tIns="46648" rIns="46648" bIns="46648"/>
          <a:lstStyle/>
          <a:p>
            <a:pPr algn="l" defTabSz="933450">
              <a:spcBef>
                <a:spcPct val="50000"/>
              </a:spcBef>
              <a:defRPr/>
            </a:pPr>
            <a:r>
              <a:rPr lang="en-US" sz="2000" kern="0" dirty="0">
                <a:solidFill>
                  <a:srgbClr val="FFFFFF"/>
                </a:solidFill>
                <a:latin typeface="Arial" charset="0"/>
              </a:rPr>
              <a:t>7. </a:t>
            </a:r>
            <a:r>
              <a:rPr lang="en-US" sz="2000" kern="0" dirty="0" smtClean="0">
                <a:solidFill>
                  <a:srgbClr val="FFFFFF"/>
                </a:solidFill>
                <a:latin typeface="Arial" charset="0"/>
              </a:rPr>
              <a:t>Response </a:t>
            </a:r>
            <a:r>
              <a:rPr lang="en-US" sz="2000" kern="0" dirty="0">
                <a:solidFill>
                  <a:srgbClr val="FFFFFF"/>
                </a:solidFill>
                <a:latin typeface="Arial" charset="0"/>
              </a:rPr>
              <a:t>and Corrective Action</a:t>
            </a:r>
          </a:p>
        </p:txBody>
      </p:sp>
      <p:pic>
        <p:nvPicPr>
          <p:cNvPr id="17" name="Picture 11" descr="Biblio2003_Page_01"/>
          <p:cNvPicPr>
            <a:picLocks noChangeAspect="1" noChangeArrowheads="1"/>
          </p:cNvPicPr>
          <p:nvPr/>
        </p:nvPicPr>
        <p:blipFill>
          <a:blip r:embed="rId3" cstate="print"/>
          <a:srcRect/>
          <a:stretch>
            <a:fillRect/>
          </a:stretch>
        </p:blipFill>
        <p:spPr bwMode="auto">
          <a:xfrm>
            <a:off x="230188" y="3214842"/>
            <a:ext cx="2357328" cy="2960196"/>
          </a:xfrm>
          <a:prstGeom prst="rect">
            <a:avLst/>
          </a:prstGeom>
          <a:solidFill>
            <a:schemeClr val="accent2"/>
          </a:solidFill>
          <a:ln w="9525">
            <a:solidFill>
              <a:srgbClr val="92D400"/>
            </a:solidFill>
            <a:miter lim="800000"/>
            <a:headEnd/>
            <a:tailEnd/>
          </a:ln>
        </p:spPr>
      </p:pic>
      <p:sp>
        <p:nvSpPr>
          <p:cNvPr id="18" name="AutoShape 12"/>
          <p:cNvSpPr>
            <a:spLocks noChangeArrowheads="1"/>
          </p:cNvSpPr>
          <p:nvPr/>
        </p:nvSpPr>
        <p:spPr bwMode="auto">
          <a:xfrm>
            <a:off x="2098042" y="5516980"/>
            <a:ext cx="628621" cy="486608"/>
          </a:xfrm>
          <a:prstGeom prst="rightArrow">
            <a:avLst>
              <a:gd name="adj1" fmla="val 50000"/>
              <a:gd name="adj2" fmla="val 28571"/>
            </a:avLst>
          </a:prstGeom>
          <a:solidFill>
            <a:schemeClr val="accent2"/>
          </a:solidFill>
          <a:ln w="12700" cap="sq">
            <a:solidFill>
              <a:srgbClr val="FFFFFF"/>
            </a:solidFill>
            <a:miter lim="800000"/>
            <a:headEnd/>
            <a:tailEnd/>
          </a:ln>
        </p:spPr>
        <p:txBody>
          <a:bodyPr wrap="none" anchor="ctr"/>
          <a:lstStyle/>
          <a:p>
            <a:pPr>
              <a:lnSpc>
                <a:spcPct val="85000"/>
              </a:lnSpc>
              <a:spcBef>
                <a:spcPct val="50000"/>
              </a:spcBef>
              <a:defRPr/>
            </a:pPr>
            <a:endParaRPr lang="en-US" sz="1400" b="0" kern="0" dirty="0">
              <a:solidFill>
                <a:srgbClr val="330066"/>
              </a:solidFill>
              <a:latin typeface="Arial" charset="0"/>
            </a:endParaRPr>
          </a:p>
        </p:txBody>
      </p:sp>
      <p:sp>
        <p:nvSpPr>
          <p:cNvPr id="19" name="AutoShape 13"/>
          <p:cNvSpPr>
            <a:spLocks noChangeArrowheads="1"/>
          </p:cNvSpPr>
          <p:nvPr/>
        </p:nvSpPr>
        <p:spPr bwMode="gray">
          <a:xfrm>
            <a:off x="2905100" y="5579811"/>
            <a:ext cx="5186121" cy="347577"/>
          </a:xfrm>
          <a:prstGeom prst="rect">
            <a:avLst/>
          </a:prstGeom>
          <a:solidFill>
            <a:schemeClr val="accent5"/>
          </a:solidFill>
          <a:ln w="9525" algn="ctr">
            <a:solidFill>
              <a:schemeClr val="bg2"/>
            </a:solidFill>
            <a:round/>
            <a:headEnd/>
            <a:tailEnd/>
          </a:ln>
        </p:spPr>
        <p:txBody>
          <a:bodyPr lIns="46648" tIns="46648" rIns="46648" bIns="46648"/>
          <a:lstStyle/>
          <a:p>
            <a:pPr defTabSz="933450">
              <a:spcBef>
                <a:spcPct val="50000"/>
              </a:spcBef>
              <a:defRPr/>
            </a:pPr>
            <a:r>
              <a:rPr lang="en-US" sz="2000" kern="0" dirty="0" smtClean="0">
                <a:solidFill>
                  <a:srgbClr val="FFFFFF"/>
                </a:solidFill>
                <a:latin typeface="Arial" charset="0"/>
              </a:rPr>
              <a:t>Ethical </a:t>
            </a:r>
            <a:r>
              <a:rPr lang="en-US" sz="2000" kern="0" dirty="0">
                <a:solidFill>
                  <a:srgbClr val="FFFFFF"/>
                </a:solidFill>
                <a:latin typeface="Arial" charset="0"/>
              </a:rPr>
              <a:t>Culture</a:t>
            </a:r>
          </a:p>
        </p:txBody>
      </p:sp>
      <p:sp>
        <p:nvSpPr>
          <p:cNvPr id="20" name="AutoShape 14"/>
          <p:cNvSpPr>
            <a:spLocks noChangeArrowheads="1"/>
          </p:cNvSpPr>
          <p:nvPr/>
        </p:nvSpPr>
        <p:spPr bwMode="auto">
          <a:xfrm>
            <a:off x="5200221" y="5174748"/>
            <a:ext cx="314310" cy="295440"/>
          </a:xfrm>
          <a:prstGeom prst="plus">
            <a:avLst>
              <a:gd name="adj" fmla="val 37500"/>
            </a:avLst>
          </a:prstGeom>
          <a:solidFill>
            <a:schemeClr val="accent2"/>
          </a:solidFill>
          <a:ln w="12700" cap="sq">
            <a:solidFill>
              <a:srgbClr val="FFFFFF"/>
            </a:solidFill>
            <a:miter lim="800000"/>
            <a:headEnd/>
            <a:tailEnd/>
          </a:ln>
        </p:spPr>
        <p:txBody>
          <a:bodyPr wrap="none" anchor="ctr"/>
          <a:lstStyle/>
          <a:p>
            <a:pPr>
              <a:lnSpc>
                <a:spcPct val="85000"/>
              </a:lnSpc>
              <a:spcBef>
                <a:spcPct val="50000"/>
              </a:spcBef>
              <a:defRPr/>
            </a:pPr>
            <a:endParaRPr lang="en-US" sz="1400" b="0" kern="0" dirty="0">
              <a:solidFill>
                <a:srgbClr val="330066"/>
              </a:solidFill>
              <a:latin typeface="Arial" charset="0"/>
            </a:endParaRPr>
          </a:p>
        </p:txBody>
      </p:sp>
      <p:sp>
        <p:nvSpPr>
          <p:cNvPr id="21" name="AutoShape 10"/>
          <p:cNvSpPr>
            <a:spLocks noChangeArrowheads="1"/>
          </p:cNvSpPr>
          <p:nvPr/>
        </p:nvSpPr>
        <p:spPr bwMode="gray">
          <a:xfrm>
            <a:off x="2905100" y="4479588"/>
            <a:ext cx="5186122" cy="486608"/>
          </a:xfrm>
          <a:prstGeom prst="rect">
            <a:avLst/>
          </a:prstGeom>
          <a:solidFill>
            <a:schemeClr val="accent5"/>
          </a:solidFill>
          <a:ln w="9525" algn="ctr">
            <a:solidFill>
              <a:schemeClr val="bg2"/>
            </a:solidFill>
            <a:round/>
            <a:headEnd/>
            <a:tailEnd/>
          </a:ln>
        </p:spPr>
        <p:txBody>
          <a:bodyPr lIns="46648" tIns="46648" rIns="46648" bIns="46648"/>
          <a:lstStyle/>
          <a:p>
            <a:pPr algn="l" defTabSz="933450">
              <a:spcBef>
                <a:spcPct val="50000"/>
              </a:spcBef>
              <a:defRPr/>
            </a:pPr>
            <a:r>
              <a:rPr lang="en-US" sz="2000" kern="0" dirty="0" smtClean="0">
                <a:solidFill>
                  <a:srgbClr val="FFFFFF"/>
                </a:solidFill>
                <a:latin typeface="Arial" charset="0"/>
              </a:rPr>
              <a:t>8. Risk Assessments</a:t>
            </a:r>
            <a:endParaRPr lang="en-US" sz="2000" kern="0" dirty="0">
              <a:solidFill>
                <a:srgbClr val="FFFFFF"/>
              </a:solidFill>
              <a:latin typeface="Arial" charset="0"/>
            </a:endParaRPr>
          </a:p>
        </p:txBody>
      </p:sp>
    </p:spTree>
    <p:extLst>
      <p:ext uri="{BB962C8B-B14F-4D97-AF65-F5344CB8AC3E}">
        <p14:creationId xmlns:p14="http://schemas.microsoft.com/office/powerpoint/2010/main" val="173340230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extBox 39"/>
          <p:cNvSpPr txBox="1"/>
          <p:nvPr/>
        </p:nvSpPr>
        <p:spPr>
          <a:xfrm>
            <a:off x="416785" y="809002"/>
            <a:ext cx="8229600" cy="523220"/>
          </a:xfrm>
          <a:prstGeom prst="rect">
            <a:avLst/>
          </a:prstGeom>
          <a:noFill/>
        </p:spPr>
        <p:txBody>
          <a:bodyPr wrap="square" rtlCol="0">
            <a:spAutoFit/>
          </a:bodyPr>
          <a:lstStyle/>
          <a:p>
            <a:r>
              <a:rPr lang="en-US" sz="1400" dirty="0" smtClean="0">
                <a:solidFill>
                  <a:srgbClr val="002776"/>
                </a:solidFill>
              </a:rPr>
              <a:t>An effective anti-corruption compliance program should consider incorporating certain key elements as depicted below.</a:t>
            </a:r>
          </a:p>
        </p:txBody>
      </p:sp>
      <p:sp>
        <p:nvSpPr>
          <p:cNvPr id="49" name="Title 1"/>
          <p:cNvSpPr txBox="1">
            <a:spLocks/>
          </p:cNvSpPr>
          <p:nvPr/>
        </p:nvSpPr>
        <p:spPr bwMode="gray">
          <a:xfrm>
            <a:off x="416785" y="142153"/>
            <a:ext cx="8330184" cy="66684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algn="l" eaLnBrk="0" fontAlgn="base" hangingPunct="0">
              <a:lnSpc>
                <a:spcPts val="2596"/>
              </a:lnSpc>
              <a:spcBef>
                <a:spcPct val="0"/>
              </a:spcBef>
              <a:spcAft>
                <a:spcPct val="0"/>
              </a:spcAft>
            </a:pPr>
            <a:r>
              <a:rPr lang="en-US" altLang="ja-JP" sz="2400" b="1" dirty="0" smtClean="0">
                <a:solidFill>
                  <a:srgbClr val="002776"/>
                </a:solidFill>
              </a:rPr>
              <a:t>Leading </a:t>
            </a:r>
            <a:r>
              <a:rPr lang="en-US" altLang="ja-JP" sz="2400" dirty="0">
                <a:solidFill>
                  <a:srgbClr val="002776"/>
                </a:solidFill>
              </a:rPr>
              <a:t>p</a:t>
            </a:r>
            <a:r>
              <a:rPr lang="en-US" altLang="ja-JP" sz="2400" b="1" dirty="0" smtClean="0">
                <a:solidFill>
                  <a:srgbClr val="002776"/>
                </a:solidFill>
              </a:rPr>
              <a:t>ractices of an anti-corruption </a:t>
            </a:r>
            <a:r>
              <a:rPr lang="en-US" altLang="ja-JP" sz="2400" dirty="0" smtClean="0">
                <a:solidFill>
                  <a:srgbClr val="002776"/>
                </a:solidFill>
              </a:rPr>
              <a:t>c</a:t>
            </a:r>
            <a:r>
              <a:rPr lang="en-US" altLang="ja-JP" sz="2400" b="1" dirty="0" smtClean="0">
                <a:solidFill>
                  <a:srgbClr val="002776"/>
                </a:solidFill>
              </a:rPr>
              <a:t>ompliance program</a:t>
            </a:r>
            <a:endParaRPr lang="en-US" sz="2400" b="1" dirty="0">
              <a:solidFill>
                <a:srgbClr val="002776"/>
              </a:solidFill>
            </a:endParaRPr>
          </a:p>
        </p:txBody>
      </p:sp>
      <p:grpSp>
        <p:nvGrpSpPr>
          <p:cNvPr id="6" name="Group 5"/>
          <p:cNvGrpSpPr/>
          <p:nvPr/>
        </p:nvGrpSpPr>
        <p:grpSpPr>
          <a:xfrm>
            <a:off x="110359" y="1451429"/>
            <a:ext cx="8859469" cy="5012433"/>
            <a:chOff x="-117403" y="1451429"/>
            <a:chExt cx="9087231" cy="5365627"/>
          </a:xfrm>
        </p:grpSpPr>
        <p:sp>
          <p:nvSpPr>
            <p:cNvPr id="51" name="Isosceles Triangle 50"/>
            <p:cNvSpPr/>
            <p:nvPr/>
          </p:nvSpPr>
          <p:spPr>
            <a:xfrm>
              <a:off x="1001486" y="1451429"/>
              <a:ext cx="5878285" cy="624115"/>
            </a:xfrm>
            <a:prstGeom prst="triangle">
              <a:avLst>
                <a:gd name="adj" fmla="val 48449"/>
              </a:avLst>
            </a:prstGeom>
            <a:solidFill>
              <a:schemeClr val="tx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04" tIns="45704" rIns="45704" bIns="45704" rtlCol="0" anchor="ctr"/>
            <a:lstStyle/>
            <a:p>
              <a:pPr algn="ctr" fontAlgn="base">
                <a:spcBef>
                  <a:spcPct val="0"/>
                </a:spcBef>
                <a:spcAft>
                  <a:spcPct val="0"/>
                </a:spcAft>
              </a:pPr>
              <a:r>
                <a:rPr lang="en-US" sz="1400" b="1" dirty="0" smtClean="0">
                  <a:solidFill>
                    <a:srgbClr val="FFFFFF"/>
                  </a:solidFill>
                </a:rPr>
                <a:t>Effective </a:t>
              </a:r>
              <a:r>
                <a:rPr lang="en-US" sz="1400" dirty="0" smtClean="0">
                  <a:solidFill>
                    <a:srgbClr val="FFFFFF"/>
                  </a:solidFill>
                </a:rPr>
                <a:t>Anti-</a:t>
              </a:r>
              <a:r>
                <a:rPr lang="en-US" sz="1400" b="1" dirty="0" smtClean="0">
                  <a:solidFill>
                    <a:srgbClr val="FFFFFF"/>
                  </a:solidFill>
                </a:rPr>
                <a:t> </a:t>
              </a:r>
            </a:p>
            <a:p>
              <a:pPr algn="ctr" fontAlgn="base">
                <a:spcBef>
                  <a:spcPct val="0"/>
                </a:spcBef>
                <a:spcAft>
                  <a:spcPct val="0"/>
                </a:spcAft>
              </a:pPr>
              <a:r>
                <a:rPr lang="en-US" sz="1400" b="1" dirty="0" smtClean="0">
                  <a:solidFill>
                    <a:srgbClr val="FFFFFF"/>
                  </a:solidFill>
                </a:rPr>
                <a:t>Corruption Compliance Program</a:t>
              </a:r>
            </a:p>
            <a:p>
              <a:pPr algn="ctr" fontAlgn="base">
                <a:spcBef>
                  <a:spcPct val="0"/>
                </a:spcBef>
                <a:spcAft>
                  <a:spcPct val="0"/>
                </a:spcAft>
              </a:pPr>
              <a:endParaRPr lang="en-US" sz="1400" b="1" dirty="0">
                <a:solidFill>
                  <a:srgbClr val="FFFFFF"/>
                </a:solidFill>
              </a:endParaRPr>
            </a:p>
          </p:txBody>
        </p:sp>
        <p:sp>
          <p:nvSpPr>
            <p:cNvPr id="96" name="Isosceles Triangle 95"/>
            <p:cNvSpPr/>
            <p:nvPr/>
          </p:nvSpPr>
          <p:spPr>
            <a:xfrm rot="5400000">
              <a:off x="5562599" y="3657600"/>
              <a:ext cx="3429000" cy="381000"/>
            </a:xfrm>
            <a:prstGeom prst="triangle">
              <a:avLst>
                <a:gd name="adj" fmla="val 48449"/>
              </a:avLst>
            </a:prstGeom>
            <a:solidFill>
              <a:schemeClr val="tx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04" tIns="45704" rIns="45704" bIns="45704" rtlCol="0" anchor="ctr"/>
            <a:lstStyle/>
            <a:p>
              <a:pPr algn="ctr" fontAlgn="base">
                <a:spcBef>
                  <a:spcPct val="0"/>
                </a:spcBef>
                <a:spcAft>
                  <a:spcPct val="0"/>
                </a:spcAft>
              </a:pPr>
              <a:endParaRPr lang="en-US" sz="1600" dirty="0">
                <a:solidFill>
                  <a:srgbClr val="FFFFFF"/>
                </a:solidFill>
              </a:endParaRPr>
            </a:p>
          </p:txBody>
        </p:sp>
        <p:sp>
          <p:nvSpPr>
            <p:cNvPr id="97" name="Rectangle 96"/>
            <p:cNvSpPr/>
            <p:nvPr/>
          </p:nvSpPr>
          <p:spPr>
            <a:xfrm>
              <a:off x="7543799" y="1868557"/>
              <a:ext cx="1426029" cy="4321228"/>
            </a:xfrm>
            <a:prstGeom prst="rect">
              <a:avLst/>
            </a:prstGeom>
            <a:solidFill>
              <a:srgbClr val="92D05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rIns="45720" rtlCol="0" anchor="ctr"/>
            <a:lstStyle/>
            <a:p>
              <a:pPr fontAlgn="base">
                <a:spcBef>
                  <a:spcPts val="600"/>
                </a:spcBef>
                <a:spcAft>
                  <a:spcPct val="0"/>
                </a:spcAft>
              </a:pPr>
              <a:r>
                <a:rPr lang="en-US" sz="1100" b="1" dirty="0" smtClean="0">
                  <a:solidFill>
                    <a:srgbClr val="FFFFFF"/>
                  </a:solidFill>
                </a:rPr>
                <a:t>Implementing the thirteen elements will help promote: </a:t>
              </a:r>
            </a:p>
            <a:p>
              <a:pPr fontAlgn="base">
                <a:spcBef>
                  <a:spcPts val="600"/>
                </a:spcBef>
                <a:spcAft>
                  <a:spcPct val="0"/>
                </a:spcAft>
              </a:pPr>
              <a:r>
                <a:rPr lang="en-US" sz="1100" b="1" dirty="0" smtClean="0">
                  <a:solidFill>
                    <a:srgbClr val="FFFFFF"/>
                  </a:solidFill>
                </a:rPr>
                <a:t>(a) Process to ensure that fair and accurate books, records, and accounts are maintained </a:t>
              </a:r>
            </a:p>
            <a:p>
              <a:pPr fontAlgn="base">
                <a:spcBef>
                  <a:spcPts val="600"/>
                </a:spcBef>
                <a:spcAft>
                  <a:spcPct val="0"/>
                </a:spcAft>
              </a:pPr>
              <a:r>
                <a:rPr lang="en-US" sz="1100" b="1" dirty="0" smtClean="0">
                  <a:solidFill>
                    <a:srgbClr val="FFFFFF"/>
                  </a:solidFill>
                </a:rPr>
                <a:t>(b) Process to detect and deter violations of the FCPA and other applicable anti-corruption laws.</a:t>
              </a:r>
            </a:p>
            <a:p>
              <a:pPr fontAlgn="base">
                <a:spcBef>
                  <a:spcPts val="600"/>
                </a:spcBef>
                <a:spcAft>
                  <a:spcPct val="0"/>
                </a:spcAft>
              </a:pPr>
              <a:r>
                <a:rPr lang="en-US" sz="1100" b="1" dirty="0" smtClean="0">
                  <a:solidFill>
                    <a:srgbClr val="FFFFFF"/>
                  </a:solidFill>
                </a:rPr>
                <a:t>(c) Process to establish control mitigants to detect and prevent known allegation schemes are developed</a:t>
              </a:r>
            </a:p>
          </p:txBody>
        </p:sp>
        <p:grpSp>
          <p:nvGrpSpPr>
            <p:cNvPr id="2" name="Group 111"/>
            <p:cNvGrpSpPr/>
            <p:nvPr/>
          </p:nvGrpSpPr>
          <p:grpSpPr>
            <a:xfrm>
              <a:off x="0" y="5322448"/>
              <a:ext cx="6821714" cy="692497"/>
              <a:chOff x="-38692" y="3316874"/>
              <a:chExt cx="3282361" cy="847983"/>
            </a:xfrm>
          </p:grpSpPr>
          <p:sp>
            <p:nvSpPr>
              <p:cNvPr id="125" name="TextBox 124"/>
              <p:cNvSpPr txBox="1"/>
              <p:nvPr/>
            </p:nvSpPr>
            <p:spPr>
              <a:xfrm>
                <a:off x="-38692" y="3316874"/>
                <a:ext cx="565683" cy="847983"/>
              </a:xfrm>
              <a:prstGeom prst="rect">
                <a:avLst/>
              </a:prstGeom>
              <a:noFill/>
            </p:spPr>
            <p:txBody>
              <a:bodyPr wrap="square" rtlCol="0">
                <a:spAutoFit/>
              </a:bodyPr>
              <a:lstStyle/>
              <a:p>
                <a:pPr algn="ctr" fontAlgn="base">
                  <a:spcBef>
                    <a:spcPts val="600"/>
                  </a:spcBef>
                  <a:spcAft>
                    <a:spcPct val="0"/>
                  </a:spcAft>
                </a:pPr>
                <a:r>
                  <a:rPr lang="en-US" sz="1300" b="1" dirty="0" smtClean="0">
                    <a:solidFill>
                      <a:srgbClr val="002776"/>
                    </a:solidFill>
                    <a:cs typeface="Arial" charset="0"/>
                  </a:rPr>
                  <a:t>Risk Assessment Approach</a:t>
                </a:r>
                <a:endParaRPr lang="en-US" sz="1300" b="1" dirty="0">
                  <a:solidFill>
                    <a:srgbClr val="002776"/>
                  </a:solidFill>
                  <a:cs typeface="Arial" charset="0"/>
                </a:endParaRPr>
              </a:p>
            </p:txBody>
          </p:sp>
          <p:sp>
            <p:nvSpPr>
              <p:cNvPr id="127" name="Rectangle 126"/>
              <p:cNvSpPr/>
              <p:nvPr/>
            </p:nvSpPr>
            <p:spPr>
              <a:xfrm>
                <a:off x="485089" y="3352798"/>
                <a:ext cx="2758580" cy="804671"/>
              </a:xfrm>
              <a:prstGeom prst="rect">
                <a:avLst/>
              </a:prstGeom>
              <a:solidFill>
                <a:srgbClr val="0C2678"/>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100" dirty="0" smtClean="0">
                    <a:solidFill>
                      <a:srgbClr val="FFFFFF"/>
                    </a:solidFill>
                  </a:rPr>
                  <a:t>Use of Risk Assessment</a:t>
                </a:r>
              </a:p>
            </p:txBody>
          </p:sp>
        </p:grpSp>
        <p:grpSp>
          <p:nvGrpSpPr>
            <p:cNvPr id="3" name="Group 60"/>
            <p:cNvGrpSpPr/>
            <p:nvPr/>
          </p:nvGrpSpPr>
          <p:grpSpPr>
            <a:xfrm>
              <a:off x="-117403" y="3204956"/>
              <a:ext cx="6920900" cy="989673"/>
              <a:chOff x="-117403" y="3059813"/>
              <a:chExt cx="6920900" cy="1018702"/>
            </a:xfrm>
          </p:grpSpPr>
          <p:sp>
            <p:nvSpPr>
              <p:cNvPr id="116" name="TextBox 115"/>
              <p:cNvSpPr txBox="1"/>
              <p:nvPr/>
            </p:nvSpPr>
            <p:spPr>
              <a:xfrm>
                <a:off x="-117403" y="3378490"/>
                <a:ext cx="1219200" cy="492443"/>
              </a:xfrm>
              <a:prstGeom prst="rect">
                <a:avLst/>
              </a:prstGeom>
              <a:noFill/>
            </p:spPr>
            <p:txBody>
              <a:bodyPr wrap="square" rtlCol="0">
                <a:spAutoFit/>
              </a:bodyPr>
              <a:lstStyle/>
              <a:p>
                <a:pPr algn="ctr" fontAlgn="base">
                  <a:spcBef>
                    <a:spcPts val="600"/>
                  </a:spcBef>
                  <a:spcAft>
                    <a:spcPct val="0"/>
                  </a:spcAft>
                </a:pPr>
                <a:r>
                  <a:rPr lang="en-US" sz="1300" b="1" dirty="0" smtClean="0">
                    <a:solidFill>
                      <a:srgbClr val="002776"/>
                    </a:solidFill>
                    <a:cs typeface="Arial" charset="0"/>
                  </a:rPr>
                  <a:t>Governance Model</a:t>
                </a:r>
              </a:p>
            </p:txBody>
          </p:sp>
          <p:sp>
            <p:nvSpPr>
              <p:cNvPr id="117" name="Rectangle 116"/>
              <p:cNvSpPr/>
              <p:nvPr/>
            </p:nvSpPr>
            <p:spPr>
              <a:xfrm>
                <a:off x="3929299" y="3067069"/>
                <a:ext cx="1397444" cy="1010196"/>
              </a:xfrm>
              <a:prstGeom prst="rect">
                <a:avLst/>
              </a:prstGeom>
              <a:solidFill>
                <a:srgbClr val="0C2678"/>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100" dirty="0" smtClean="0">
                    <a:solidFill>
                      <a:srgbClr val="FFFFFF"/>
                    </a:solidFill>
                  </a:rPr>
                  <a:t>Training and annual certifications</a:t>
                </a:r>
              </a:p>
            </p:txBody>
          </p:sp>
          <p:sp>
            <p:nvSpPr>
              <p:cNvPr id="118" name="Rectangle 117"/>
              <p:cNvSpPr/>
              <p:nvPr/>
            </p:nvSpPr>
            <p:spPr>
              <a:xfrm>
                <a:off x="2507150" y="3067069"/>
                <a:ext cx="1397444" cy="1010196"/>
              </a:xfrm>
              <a:prstGeom prst="rect">
                <a:avLst/>
              </a:prstGeom>
              <a:solidFill>
                <a:srgbClr val="0C2678"/>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100" dirty="0" smtClean="0">
                    <a:solidFill>
                      <a:srgbClr val="FFFFFF"/>
                    </a:solidFill>
                  </a:rPr>
                  <a:t>Tone at the Top </a:t>
                </a:r>
              </a:p>
            </p:txBody>
          </p:sp>
          <p:sp>
            <p:nvSpPr>
              <p:cNvPr id="119" name="Rectangle 118"/>
              <p:cNvSpPr/>
              <p:nvPr/>
            </p:nvSpPr>
            <p:spPr>
              <a:xfrm>
                <a:off x="1088842" y="3067069"/>
                <a:ext cx="1397444" cy="1010196"/>
              </a:xfrm>
              <a:prstGeom prst="rect">
                <a:avLst/>
              </a:prstGeom>
              <a:solidFill>
                <a:srgbClr val="0C2678"/>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100" dirty="0" smtClean="0">
                    <a:solidFill>
                      <a:srgbClr val="FFFFFF"/>
                    </a:solidFill>
                  </a:rPr>
                  <a:t> Clearly Articulated Policies (in local language)</a:t>
                </a:r>
              </a:p>
            </p:txBody>
          </p:sp>
          <p:sp>
            <p:nvSpPr>
              <p:cNvPr id="59" name="Rectangle 58"/>
              <p:cNvSpPr/>
              <p:nvPr/>
            </p:nvSpPr>
            <p:spPr>
              <a:xfrm>
                <a:off x="5359428" y="3059813"/>
                <a:ext cx="1444069" cy="1018702"/>
              </a:xfrm>
              <a:prstGeom prst="rect">
                <a:avLst/>
              </a:prstGeom>
              <a:solidFill>
                <a:srgbClr val="0C2678"/>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100" dirty="0" smtClean="0">
                    <a:solidFill>
                      <a:srgbClr val="FFFFFF"/>
                    </a:solidFill>
                  </a:rPr>
                  <a:t>Escalation Policies&amp; Discipline</a:t>
                </a:r>
              </a:p>
            </p:txBody>
          </p:sp>
        </p:grpSp>
        <p:grpSp>
          <p:nvGrpSpPr>
            <p:cNvPr id="4" name="Group 61"/>
            <p:cNvGrpSpPr/>
            <p:nvPr/>
          </p:nvGrpSpPr>
          <p:grpSpPr>
            <a:xfrm>
              <a:off x="-87055" y="2145207"/>
              <a:ext cx="6890552" cy="981410"/>
              <a:chOff x="-87055" y="3067069"/>
              <a:chExt cx="6890552" cy="1010196"/>
            </a:xfrm>
          </p:grpSpPr>
          <p:sp>
            <p:nvSpPr>
              <p:cNvPr id="63" name="TextBox 62"/>
              <p:cNvSpPr txBox="1"/>
              <p:nvPr/>
            </p:nvSpPr>
            <p:spPr>
              <a:xfrm>
                <a:off x="-87055" y="3378490"/>
                <a:ext cx="1219200" cy="506887"/>
              </a:xfrm>
              <a:prstGeom prst="rect">
                <a:avLst/>
              </a:prstGeom>
              <a:noFill/>
            </p:spPr>
            <p:txBody>
              <a:bodyPr wrap="square" rtlCol="0">
                <a:spAutoFit/>
              </a:bodyPr>
              <a:lstStyle/>
              <a:p>
                <a:pPr algn="ctr" fontAlgn="base">
                  <a:spcBef>
                    <a:spcPts val="600"/>
                  </a:spcBef>
                  <a:spcAft>
                    <a:spcPct val="0"/>
                  </a:spcAft>
                </a:pPr>
                <a:r>
                  <a:rPr lang="en-US" sz="1300" b="1" dirty="0" smtClean="0">
                    <a:solidFill>
                      <a:srgbClr val="002776"/>
                    </a:solidFill>
                    <a:cs typeface="Arial" charset="0"/>
                  </a:rPr>
                  <a:t>Assessment Program</a:t>
                </a:r>
              </a:p>
            </p:txBody>
          </p:sp>
          <p:sp>
            <p:nvSpPr>
              <p:cNvPr id="64" name="Rectangle 63"/>
              <p:cNvSpPr/>
              <p:nvPr/>
            </p:nvSpPr>
            <p:spPr>
              <a:xfrm>
                <a:off x="3929299" y="3067069"/>
                <a:ext cx="1397444" cy="1010196"/>
              </a:xfrm>
              <a:prstGeom prst="rect">
                <a:avLst/>
              </a:prstGeom>
              <a:solidFill>
                <a:srgbClr val="0C2678"/>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100" dirty="0" smtClean="0">
                    <a:solidFill>
                      <a:srgbClr val="FFFFFF"/>
                    </a:solidFill>
                  </a:rPr>
                  <a:t>Ongoing Advice and Guidance</a:t>
                </a:r>
              </a:p>
            </p:txBody>
          </p:sp>
          <p:sp>
            <p:nvSpPr>
              <p:cNvPr id="65" name="Rectangle 64"/>
              <p:cNvSpPr/>
              <p:nvPr/>
            </p:nvSpPr>
            <p:spPr>
              <a:xfrm>
                <a:off x="2507150" y="3067069"/>
                <a:ext cx="1397444" cy="1010196"/>
              </a:xfrm>
              <a:prstGeom prst="rect">
                <a:avLst/>
              </a:prstGeom>
              <a:solidFill>
                <a:srgbClr val="0C2678"/>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100" dirty="0" smtClean="0">
                    <a:solidFill>
                      <a:srgbClr val="FFFFFF"/>
                    </a:solidFill>
                  </a:rPr>
                  <a:t>Sr. Management Oversight and Reporting</a:t>
                </a:r>
              </a:p>
            </p:txBody>
          </p:sp>
          <p:sp>
            <p:nvSpPr>
              <p:cNvPr id="66" name="Rectangle 65"/>
              <p:cNvSpPr/>
              <p:nvPr/>
            </p:nvSpPr>
            <p:spPr>
              <a:xfrm>
                <a:off x="1088842" y="3067069"/>
                <a:ext cx="1397444" cy="1010196"/>
              </a:xfrm>
              <a:prstGeom prst="rect">
                <a:avLst/>
              </a:prstGeom>
              <a:solidFill>
                <a:srgbClr val="0C2678"/>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100" dirty="0" smtClean="0">
                    <a:solidFill>
                      <a:srgbClr val="FFFFFF"/>
                    </a:solidFill>
                  </a:rPr>
                  <a:t>Independent Audits (including audits of agents and business partners)</a:t>
                </a:r>
              </a:p>
            </p:txBody>
          </p:sp>
          <p:sp>
            <p:nvSpPr>
              <p:cNvPr id="67" name="Rectangle 66"/>
              <p:cNvSpPr/>
              <p:nvPr/>
            </p:nvSpPr>
            <p:spPr>
              <a:xfrm>
                <a:off x="5359428" y="3070062"/>
                <a:ext cx="1444069" cy="1000981"/>
              </a:xfrm>
              <a:prstGeom prst="rect">
                <a:avLst/>
              </a:prstGeom>
              <a:solidFill>
                <a:srgbClr val="0C2678"/>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100" dirty="0" smtClean="0">
                    <a:solidFill>
                      <a:srgbClr val="FFFFFF"/>
                    </a:solidFill>
                  </a:rPr>
                  <a:t>Ongoing Assessment</a:t>
                </a:r>
              </a:p>
            </p:txBody>
          </p:sp>
        </p:grpSp>
        <p:grpSp>
          <p:nvGrpSpPr>
            <p:cNvPr id="5" name="Group 30"/>
            <p:cNvGrpSpPr/>
            <p:nvPr/>
          </p:nvGrpSpPr>
          <p:grpSpPr>
            <a:xfrm>
              <a:off x="0" y="4271756"/>
              <a:ext cx="6803497" cy="989673"/>
              <a:chOff x="0" y="3059813"/>
              <a:chExt cx="6803497" cy="1018702"/>
            </a:xfrm>
          </p:grpSpPr>
          <p:sp>
            <p:nvSpPr>
              <p:cNvPr id="32" name="TextBox 31"/>
              <p:cNvSpPr txBox="1"/>
              <p:nvPr/>
            </p:nvSpPr>
            <p:spPr>
              <a:xfrm>
                <a:off x="0" y="3378490"/>
                <a:ext cx="1219200" cy="506887"/>
              </a:xfrm>
              <a:prstGeom prst="rect">
                <a:avLst/>
              </a:prstGeom>
              <a:noFill/>
            </p:spPr>
            <p:txBody>
              <a:bodyPr wrap="square" rtlCol="0">
                <a:spAutoFit/>
              </a:bodyPr>
              <a:lstStyle/>
              <a:p>
                <a:pPr algn="ctr" fontAlgn="base">
                  <a:spcBef>
                    <a:spcPts val="600"/>
                  </a:spcBef>
                  <a:spcAft>
                    <a:spcPct val="0"/>
                  </a:spcAft>
                </a:pPr>
                <a:r>
                  <a:rPr lang="en-US" sz="1300" b="1" dirty="0" smtClean="0">
                    <a:solidFill>
                      <a:srgbClr val="002776"/>
                    </a:solidFill>
                    <a:cs typeface="Arial" charset="0"/>
                  </a:rPr>
                  <a:t>Control Structure</a:t>
                </a:r>
              </a:p>
            </p:txBody>
          </p:sp>
          <p:sp>
            <p:nvSpPr>
              <p:cNvPr id="33" name="Rectangle 32"/>
              <p:cNvSpPr/>
              <p:nvPr/>
            </p:nvSpPr>
            <p:spPr>
              <a:xfrm>
                <a:off x="3929299" y="3067069"/>
                <a:ext cx="1397444" cy="1010196"/>
              </a:xfrm>
              <a:prstGeom prst="rect">
                <a:avLst/>
              </a:prstGeom>
              <a:solidFill>
                <a:srgbClr val="0C2678"/>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100" dirty="0" smtClean="0">
                    <a:solidFill>
                      <a:srgbClr val="FFFFFF"/>
                    </a:solidFill>
                  </a:rPr>
                  <a:t>Contractual Compliance Terms and Conditions</a:t>
                </a:r>
              </a:p>
              <a:p>
                <a:pPr algn="ctr"/>
                <a:endParaRPr lang="en-US" sz="1100" dirty="0" smtClean="0">
                  <a:solidFill>
                    <a:srgbClr val="FFFFFF"/>
                  </a:solidFill>
                </a:endParaRPr>
              </a:p>
            </p:txBody>
          </p:sp>
          <p:sp>
            <p:nvSpPr>
              <p:cNvPr id="34" name="Rectangle 33"/>
              <p:cNvSpPr/>
              <p:nvPr/>
            </p:nvSpPr>
            <p:spPr>
              <a:xfrm>
                <a:off x="2507150" y="3067069"/>
                <a:ext cx="1397444" cy="1010196"/>
              </a:xfrm>
              <a:prstGeom prst="rect">
                <a:avLst/>
              </a:prstGeom>
              <a:solidFill>
                <a:srgbClr val="0C2678"/>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100" dirty="0" smtClean="0">
                    <a:solidFill>
                      <a:srgbClr val="FFFFFF"/>
                    </a:solidFill>
                  </a:rPr>
                  <a:t>Internal Controls &amp; Oversight</a:t>
                </a:r>
              </a:p>
            </p:txBody>
          </p:sp>
          <p:sp>
            <p:nvSpPr>
              <p:cNvPr id="35" name="Rectangle 34"/>
              <p:cNvSpPr/>
              <p:nvPr/>
            </p:nvSpPr>
            <p:spPr>
              <a:xfrm>
                <a:off x="1088842" y="3067069"/>
                <a:ext cx="1397444" cy="1010196"/>
              </a:xfrm>
              <a:prstGeom prst="rect">
                <a:avLst/>
              </a:prstGeom>
              <a:solidFill>
                <a:srgbClr val="0C2678"/>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100" dirty="0" smtClean="0">
                    <a:solidFill>
                      <a:srgbClr val="FFFFFF"/>
                    </a:solidFill>
                  </a:rPr>
                  <a:t>Anti-Corruption Policies and Procedures</a:t>
                </a:r>
              </a:p>
            </p:txBody>
          </p:sp>
          <p:sp>
            <p:nvSpPr>
              <p:cNvPr id="36" name="Rectangle 35"/>
              <p:cNvSpPr/>
              <p:nvPr/>
            </p:nvSpPr>
            <p:spPr>
              <a:xfrm>
                <a:off x="5359428" y="3059813"/>
                <a:ext cx="1444069" cy="1018702"/>
              </a:xfrm>
              <a:prstGeom prst="rect">
                <a:avLst/>
              </a:prstGeom>
              <a:solidFill>
                <a:srgbClr val="0C2678"/>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100" dirty="0" smtClean="0">
                    <a:solidFill>
                      <a:srgbClr val="FFFFFF"/>
                    </a:solidFill>
                  </a:rPr>
                  <a:t>Use of Agents and Other Business Partners</a:t>
                </a:r>
              </a:p>
            </p:txBody>
          </p:sp>
        </p:grpSp>
        <p:sp>
          <p:nvSpPr>
            <p:cNvPr id="28" name="Rectangle 27"/>
            <p:cNvSpPr/>
            <p:nvPr/>
          </p:nvSpPr>
          <p:spPr>
            <a:xfrm>
              <a:off x="1087075" y="6379734"/>
              <a:ext cx="5870713" cy="437322"/>
            </a:xfrm>
            <a:prstGeom prst="rect">
              <a:avLst/>
            </a:prstGeom>
            <a:solidFill>
              <a:srgbClr val="92D05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rIns="45720" rtlCol="0" anchor="ctr"/>
            <a:lstStyle/>
            <a:p>
              <a:pPr algn="ctr" fontAlgn="base">
                <a:spcBef>
                  <a:spcPts val="600"/>
                </a:spcBef>
                <a:spcAft>
                  <a:spcPct val="0"/>
                </a:spcAft>
              </a:pPr>
              <a:r>
                <a:rPr lang="en-US" sz="1100" b="1" dirty="0" smtClean="0">
                  <a:solidFill>
                    <a:srgbClr val="FFFFFF"/>
                  </a:solidFill>
                </a:rPr>
                <a:t>Note:  This is an ongoing process that needs to be updated as risks and the business model change.</a:t>
              </a:r>
            </a:p>
          </p:txBody>
        </p:sp>
        <p:sp>
          <p:nvSpPr>
            <p:cNvPr id="29" name="Isosceles Triangle 28"/>
            <p:cNvSpPr/>
            <p:nvPr/>
          </p:nvSpPr>
          <p:spPr>
            <a:xfrm rot="10800000">
              <a:off x="2314511" y="6042072"/>
              <a:ext cx="3077807" cy="371060"/>
            </a:xfrm>
            <a:prstGeom prst="triangle">
              <a:avLst>
                <a:gd name="adj" fmla="val 48449"/>
              </a:avLst>
            </a:prstGeom>
            <a:solidFill>
              <a:schemeClr val="tx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04" tIns="45704" rIns="45704" bIns="45704" rtlCol="0" anchor="ctr"/>
            <a:lstStyle/>
            <a:p>
              <a:pPr algn="ctr" fontAlgn="base">
                <a:spcBef>
                  <a:spcPct val="0"/>
                </a:spcBef>
                <a:spcAft>
                  <a:spcPct val="0"/>
                </a:spcAft>
              </a:pPr>
              <a:endParaRPr lang="en-US" sz="1600" dirty="0">
                <a:solidFill>
                  <a:srgbClr val="FFFFFF"/>
                </a:solidFill>
              </a:endParaRPr>
            </a:p>
          </p:txBody>
        </p:sp>
      </p:grpSp>
    </p:spTree>
    <p:extLst>
      <p:ext uri="{BB962C8B-B14F-4D97-AF65-F5344CB8AC3E}">
        <p14:creationId xmlns:p14="http://schemas.microsoft.com/office/powerpoint/2010/main" val="152926680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4"/>
          <p:cNvSpPr>
            <a:spLocks noGrp="1"/>
          </p:cNvSpPr>
          <p:nvPr>
            <p:ph type="title"/>
          </p:nvPr>
        </p:nvSpPr>
        <p:spPr>
          <a:xfrm>
            <a:off x="414129" y="450827"/>
            <a:ext cx="8330173" cy="333425"/>
          </a:xfrm>
        </p:spPr>
        <p:txBody>
          <a:bodyPr/>
          <a:lstStyle/>
          <a:p>
            <a:r>
              <a:rPr lang="en-US" sz="2400" dirty="0" smtClean="0"/>
              <a:t>Common </a:t>
            </a:r>
            <a:r>
              <a:rPr lang="en-US" sz="2400" dirty="0"/>
              <a:t>c</a:t>
            </a:r>
            <a:r>
              <a:rPr lang="en-US" sz="2400" dirty="0" smtClean="0"/>
              <a:t>urrent </a:t>
            </a:r>
            <a:r>
              <a:rPr lang="en-US" sz="2400" dirty="0"/>
              <a:t>s</a:t>
            </a:r>
            <a:r>
              <a:rPr lang="en-US" sz="2400" dirty="0" smtClean="0"/>
              <a:t>tate vs. leading practices</a:t>
            </a:r>
          </a:p>
        </p:txBody>
      </p:sp>
      <p:sp>
        <p:nvSpPr>
          <p:cNvPr id="6" name="Text Box 7"/>
          <p:cNvSpPr txBox="1">
            <a:spLocks noChangeArrowheads="1"/>
          </p:cNvSpPr>
          <p:nvPr/>
        </p:nvSpPr>
        <p:spPr bwMode="auto">
          <a:xfrm>
            <a:off x="385270" y="929689"/>
            <a:ext cx="8151247" cy="462293"/>
          </a:xfrm>
          <a:prstGeom prst="rect">
            <a:avLst/>
          </a:prstGeom>
          <a:noFill/>
          <a:ln w="12700" algn="ctr">
            <a:noFill/>
            <a:miter lim="800000"/>
            <a:headEnd/>
            <a:tailEnd/>
          </a:ln>
        </p:spPr>
        <p:txBody>
          <a:bodyPr lIns="92060" tIns="46031" rIns="92060" bIns="46031">
            <a:spAutoFit/>
          </a:bodyPr>
          <a:lstStyle/>
          <a:p>
            <a:pPr algn="l" eaLnBrk="0" hangingPunct="0">
              <a:defRPr/>
            </a:pPr>
            <a:r>
              <a:rPr lang="en-US" sz="2400" dirty="0">
                <a:solidFill>
                  <a:schemeClr val="tx2"/>
                </a:solidFill>
                <a:latin typeface="+mj-lt"/>
                <a:ea typeface="+mj-ea"/>
                <a:cs typeface="+mj-cs"/>
              </a:rPr>
              <a:t>C</a:t>
            </a:r>
            <a:r>
              <a:rPr lang="en-US" sz="2400" dirty="0" smtClean="0">
                <a:solidFill>
                  <a:schemeClr val="tx2"/>
                </a:solidFill>
                <a:latin typeface="+mj-lt"/>
                <a:ea typeface="+mj-ea"/>
                <a:cs typeface="+mj-cs"/>
              </a:rPr>
              <a:t>ommon</a:t>
            </a:r>
            <a:r>
              <a:rPr lang="en-US" sz="2000" b="1" dirty="0" smtClean="0">
                <a:solidFill>
                  <a:srgbClr val="FF0000"/>
                </a:solidFill>
              </a:rPr>
              <a:t> </a:t>
            </a:r>
            <a:r>
              <a:rPr lang="en-US" sz="2400" dirty="0">
                <a:solidFill>
                  <a:schemeClr val="tx2"/>
                </a:solidFill>
                <a:latin typeface="+mj-lt"/>
                <a:ea typeface="+mj-ea"/>
                <a:cs typeface="+mj-cs"/>
              </a:rPr>
              <a:t>current state:</a:t>
            </a:r>
          </a:p>
        </p:txBody>
      </p:sp>
      <p:sp>
        <p:nvSpPr>
          <p:cNvPr id="27652" name="Rectangle 13"/>
          <p:cNvSpPr txBox="1">
            <a:spLocks noChangeArrowheads="1"/>
          </p:cNvSpPr>
          <p:nvPr/>
        </p:nvSpPr>
        <p:spPr bwMode="auto">
          <a:xfrm>
            <a:off x="380941" y="1330427"/>
            <a:ext cx="8458596" cy="2209909"/>
          </a:xfrm>
          <a:prstGeom prst="rect">
            <a:avLst/>
          </a:prstGeom>
          <a:noFill/>
          <a:ln w="9525">
            <a:noFill/>
            <a:miter lim="800000"/>
            <a:headEnd/>
            <a:tailEnd/>
          </a:ln>
        </p:spPr>
        <p:txBody>
          <a:bodyPr lIns="91426" tIns="45712" rIns="91426" bIns="45712"/>
          <a:lstStyle/>
          <a:p>
            <a:pPr marL="230737" lvl="1" indent="-230737" algn="l">
              <a:spcBef>
                <a:spcPts val="505"/>
              </a:spcBef>
              <a:buFont typeface="Arial" charset="0"/>
              <a:buChar char="•"/>
            </a:pPr>
            <a:r>
              <a:rPr lang="en-US" sz="1600" b="0" dirty="0">
                <a:solidFill>
                  <a:schemeClr val="tx2"/>
                </a:solidFill>
                <a:latin typeface="+mn-lt"/>
                <a:cs typeface="+mn-cs"/>
              </a:rPr>
              <a:t>Compliance generally driving process with minimal or no internal audit input</a:t>
            </a:r>
          </a:p>
          <a:p>
            <a:pPr marL="230737" lvl="1" indent="-230737" algn="l">
              <a:spcBef>
                <a:spcPts val="505"/>
              </a:spcBef>
              <a:buFont typeface="Arial" charset="0"/>
              <a:buChar char="•"/>
            </a:pPr>
            <a:r>
              <a:rPr lang="en-US" sz="1600" b="0" dirty="0">
                <a:solidFill>
                  <a:schemeClr val="tx2"/>
                </a:solidFill>
                <a:latin typeface="+mn-lt"/>
                <a:cs typeface="+mn-cs"/>
              </a:rPr>
              <a:t>Few companies doing stand-alone anti-corruption audits or anti-corruption risk assessments</a:t>
            </a:r>
          </a:p>
          <a:p>
            <a:pPr marL="230737" lvl="1" indent="-230737" algn="l">
              <a:spcBef>
                <a:spcPts val="505"/>
              </a:spcBef>
              <a:buFont typeface="Arial" charset="0"/>
              <a:buChar char="•"/>
            </a:pPr>
            <a:r>
              <a:rPr lang="en-US" sz="1600" b="0" dirty="0">
                <a:solidFill>
                  <a:schemeClr val="tx2"/>
                </a:solidFill>
                <a:latin typeface="+mn-lt"/>
                <a:cs typeface="+mn-cs"/>
              </a:rPr>
              <a:t>Few in internal audit have been adequately trained to detect potential FCPA or UK Bribery Act violations</a:t>
            </a:r>
          </a:p>
          <a:p>
            <a:pPr marL="230737" lvl="1" indent="-230737" algn="l">
              <a:spcBef>
                <a:spcPts val="505"/>
              </a:spcBef>
              <a:buFont typeface="Arial" charset="0"/>
              <a:buChar char="•"/>
            </a:pPr>
            <a:r>
              <a:rPr lang="en-US" sz="1600" b="0" dirty="0">
                <a:solidFill>
                  <a:schemeClr val="tx2"/>
                </a:solidFill>
                <a:latin typeface="+mn-lt"/>
                <a:cs typeface="+mn-cs"/>
              </a:rPr>
              <a:t>Internal audit departments are beginning to consider anti-corruption and build testing components into their work plans</a:t>
            </a:r>
          </a:p>
          <a:p>
            <a:pPr marL="230737" lvl="1" indent="-230737" algn="l">
              <a:spcBef>
                <a:spcPts val="505"/>
              </a:spcBef>
              <a:buFont typeface="Arial" charset="0"/>
              <a:buChar char="•"/>
            </a:pPr>
            <a:r>
              <a:rPr lang="en-US" sz="1600" b="0" dirty="0">
                <a:solidFill>
                  <a:schemeClr val="tx2"/>
                </a:solidFill>
                <a:latin typeface="+mn-lt"/>
                <a:cs typeface="+mn-cs"/>
              </a:rPr>
              <a:t>Proactive testing, if any, is not risk based and often includes random selections</a:t>
            </a:r>
          </a:p>
          <a:p>
            <a:pPr marL="230737" lvl="1" indent="-230737" algn="l">
              <a:spcBef>
                <a:spcPts val="505"/>
              </a:spcBef>
              <a:buFont typeface="Arial" charset="0"/>
              <a:buChar char="•"/>
            </a:pPr>
            <a:r>
              <a:rPr lang="en-US" sz="1600" b="0" dirty="0">
                <a:solidFill>
                  <a:schemeClr val="tx2"/>
                </a:solidFill>
                <a:latin typeface="+mn-lt"/>
                <a:cs typeface="+mn-cs"/>
              </a:rPr>
              <a:t>FCPA policies do not adequately identify internal audit’s role</a:t>
            </a:r>
          </a:p>
        </p:txBody>
      </p:sp>
      <p:sp>
        <p:nvSpPr>
          <p:cNvPr id="9" name="Text Box 7"/>
          <p:cNvSpPr txBox="1">
            <a:spLocks noChangeArrowheads="1"/>
          </p:cNvSpPr>
          <p:nvPr/>
        </p:nvSpPr>
        <p:spPr bwMode="auto">
          <a:xfrm>
            <a:off x="467287" y="3918849"/>
            <a:ext cx="8152690" cy="462293"/>
          </a:xfrm>
          <a:prstGeom prst="rect">
            <a:avLst/>
          </a:prstGeom>
          <a:noFill/>
          <a:ln w="12700" algn="ctr">
            <a:noFill/>
            <a:miter lim="800000"/>
            <a:headEnd/>
            <a:tailEnd/>
          </a:ln>
        </p:spPr>
        <p:txBody>
          <a:bodyPr lIns="92060" tIns="46031" rIns="92060" bIns="46031">
            <a:spAutoFit/>
          </a:bodyPr>
          <a:lstStyle/>
          <a:p>
            <a:pPr algn="l" eaLnBrk="0" hangingPunct="0">
              <a:defRPr/>
            </a:pPr>
            <a:r>
              <a:rPr lang="en-US" sz="2400" dirty="0" smtClean="0">
                <a:solidFill>
                  <a:schemeClr val="tx2"/>
                </a:solidFill>
                <a:latin typeface="+mj-lt"/>
                <a:ea typeface="+mj-ea"/>
                <a:cs typeface="+mj-cs"/>
              </a:rPr>
              <a:t>Leading</a:t>
            </a:r>
            <a:r>
              <a:rPr lang="en-US" sz="2000" dirty="0" smtClean="0">
                <a:solidFill>
                  <a:srgbClr val="FF0000"/>
                </a:solidFill>
              </a:rPr>
              <a:t> </a:t>
            </a:r>
            <a:r>
              <a:rPr lang="en-US" sz="2400" dirty="0" smtClean="0">
                <a:solidFill>
                  <a:schemeClr val="tx2"/>
                </a:solidFill>
                <a:latin typeface="+mj-lt"/>
                <a:ea typeface="+mj-ea"/>
                <a:cs typeface="+mj-cs"/>
              </a:rPr>
              <a:t>practices</a:t>
            </a:r>
            <a:r>
              <a:rPr lang="en-US" sz="2400" dirty="0">
                <a:solidFill>
                  <a:schemeClr val="tx2"/>
                </a:solidFill>
                <a:latin typeface="+mj-lt"/>
                <a:ea typeface="+mj-ea"/>
                <a:cs typeface="+mj-cs"/>
              </a:rPr>
              <a:t>:  </a:t>
            </a:r>
          </a:p>
        </p:txBody>
      </p:sp>
      <p:sp>
        <p:nvSpPr>
          <p:cNvPr id="27654" name="Rectangle 13"/>
          <p:cNvSpPr txBox="1">
            <a:spLocks noChangeArrowheads="1"/>
          </p:cNvSpPr>
          <p:nvPr/>
        </p:nvSpPr>
        <p:spPr bwMode="auto">
          <a:xfrm>
            <a:off x="380941" y="4319587"/>
            <a:ext cx="8053126" cy="1807980"/>
          </a:xfrm>
          <a:prstGeom prst="rect">
            <a:avLst/>
          </a:prstGeom>
          <a:noFill/>
          <a:ln w="9525">
            <a:noFill/>
            <a:miter lim="800000"/>
            <a:headEnd/>
            <a:tailEnd/>
          </a:ln>
        </p:spPr>
        <p:txBody>
          <a:bodyPr lIns="91426" tIns="45712" rIns="91426" bIns="45712"/>
          <a:lstStyle/>
          <a:p>
            <a:pPr marL="230737" lvl="1" indent="-230737" algn="l">
              <a:spcBef>
                <a:spcPts val="505"/>
              </a:spcBef>
              <a:buFont typeface="Arial" charset="0"/>
              <a:buChar char="•"/>
            </a:pPr>
            <a:r>
              <a:rPr lang="en-US" sz="1600" b="0" dirty="0">
                <a:solidFill>
                  <a:schemeClr val="tx2"/>
                </a:solidFill>
                <a:latin typeface="+mn-lt"/>
                <a:cs typeface="+mn-cs"/>
              </a:rPr>
              <a:t>Dedicated and properly trained audit team focused on anti-corruption</a:t>
            </a:r>
          </a:p>
          <a:p>
            <a:pPr marL="230737" lvl="1" indent="-230737" algn="l">
              <a:spcBef>
                <a:spcPts val="505"/>
              </a:spcBef>
              <a:buFont typeface="Arial" charset="0"/>
              <a:buChar char="•"/>
            </a:pPr>
            <a:r>
              <a:rPr lang="en-US" sz="1600" b="0" dirty="0">
                <a:solidFill>
                  <a:schemeClr val="tx2"/>
                </a:solidFill>
                <a:latin typeface="+mn-lt"/>
                <a:cs typeface="+mn-cs"/>
              </a:rPr>
              <a:t>Risk-based due diligence on third parties</a:t>
            </a:r>
          </a:p>
          <a:p>
            <a:pPr marL="230737" lvl="1" indent="-230737" algn="l">
              <a:spcBef>
                <a:spcPts val="505"/>
              </a:spcBef>
              <a:buFont typeface="Arial" charset="0"/>
              <a:buChar char="•"/>
            </a:pPr>
            <a:r>
              <a:rPr lang="en-US" sz="1600" b="0" dirty="0">
                <a:solidFill>
                  <a:schemeClr val="tx2"/>
                </a:solidFill>
                <a:latin typeface="+mn-lt"/>
                <a:cs typeface="+mn-cs"/>
              </a:rPr>
              <a:t>Joint effort by compliance, legal, and audit</a:t>
            </a:r>
          </a:p>
          <a:p>
            <a:pPr marL="230737" lvl="1" indent="-230737" algn="l">
              <a:spcBef>
                <a:spcPts val="505"/>
              </a:spcBef>
              <a:buFont typeface="Arial" charset="0"/>
              <a:buChar char="•"/>
            </a:pPr>
            <a:r>
              <a:rPr lang="en-US" sz="1600" b="0" dirty="0">
                <a:solidFill>
                  <a:schemeClr val="tx2"/>
                </a:solidFill>
                <a:latin typeface="+mn-lt"/>
                <a:cs typeface="+mn-cs"/>
              </a:rPr>
              <a:t>Stand-alone anti-corruption risk assessment</a:t>
            </a:r>
          </a:p>
          <a:p>
            <a:pPr marL="230737" lvl="1" indent="-230737" algn="l">
              <a:spcBef>
                <a:spcPts val="505"/>
              </a:spcBef>
              <a:buFont typeface="Arial" charset="0"/>
              <a:buChar char="•"/>
            </a:pPr>
            <a:r>
              <a:rPr lang="en-US" sz="1600" b="0" dirty="0">
                <a:solidFill>
                  <a:schemeClr val="tx2"/>
                </a:solidFill>
                <a:latin typeface="+mn-lt"/>
                <a:cs typeface="+mn-cs"/>
              </a:rPr>
              <a:t>Stand-alone anti-corruption policy</a:t>
            </a:r>
          </a:p>
          <a:p>
            <a:pPr marL="230737" lvl="1" indent="-230737" algn="l">
              <a:spcBef>
                <a:spcPts val="505"/>
              </a:spcBef>
              <a:buFont typeface="Arial" charset="0"/>
              <a:buChar char="•"/>
            </a:pPr>
            <a:r>
              <a:rPr lang="en-US" sz="1600" b="0" dirty="0">
                <a:solidFill>
                  <a:schemeClr val="tx2"/>
                </a:solidFill>
                <a:latin typeface="+mn-lt"/>
                <a:cs typeface="+mn-cs"/>
              </a:rPr>
              <a:t>Testing of high-risk locations and business segments on at least a rotating basis</a:t>
            </a:r>
          </a:p>
          <a:p>
            <a:pPr marL="230737" lvl="1" indent="-230737" algn="l">
              <a:spcBef>
                <a:spcPts val="505"/>
              </a:spcBef>
              <a:buFont typeface="Arial" charset="0"/>
              <a:buChar char="•"/>
            </a:pPr>
            <a:r>
              <a:rPr lang="en-US" sz="1600" b="0" dirty="0">
                <a:solidFill>
                  <a:schemeClr val="tx2"/>
                </a:solidFill>
                <a:latin typeface="+mn-lt"/>
                <a:cs typeface="+mn-cs"/>
              </a:rPr>
              <a:t>Use of electronic data anomaly tools to identify and test high risk transactions</a:t>
            </a:r>
          </a:p>
          <a:p>
            <a:pPr marL="230737" lvl="1" indent="-230737">
              <a:spcBef>
                <a:spcPts val="505"/>
              </a:spcBef>
              <a:buFont typeface="Arial" charset="0"/>
              <a:buChar char="•"/>
            </a:pPr>
            <a:endParaRPr lang="en-US" sz="1600" dirty="0">
              <a:solidFill>
                <a:srgbClr val="002776"/>
              </a:solidFill>
            </a:endParaRPr>
          </a:p>
          <a:p>
            <a:pPr marL="230737" lvl="1" indent="-230737">
              <a:spcBef>
                <a:spcPts val="505"/>
              </a:spcBef>
              <a:buFont typeface="Arial" charset="0"/>
              <a:buChar char="•"/>
            </a:pPr>
            <a:endParaRPr lang="en-US" sz="1600" dirty="0">
              <a:solidFill>
                <a:srgbClr val="002776"/>
              </a:solidFill>
            </a:endParaRPr>
          </a:p>
        </p:txBody>
      </p:sp>
    </p:spTree>
    <p:extLst>
      <p:ext uri="{BB962C8B-B14F-4D97-AF65-F5344CB8AC3E}">
        <p14:creationId xmlns:p14="http://schemas.microsoft.com/office/powerpoint/2010/main" val="129625201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a:xfrm>
            <a:off x="450056" y="372289"/>
            <a:ext cx="7329487" cy="333425"/>
          </a:xfrm>
        </p:spPr>
        <p:txBody>
          <a:bodyPr/>
          <a:lstStyle/>
          <a:p>
            <a:r>
              <a:rPr lang="en-US" sz="2400" dirty="0"/>
              <a:t>Corruption </a:t>
            </a:r>
            <a:r>
              <a:rPr lang="en-US" sz="2400" dirty="0" smtClean="0"/>
              <a:t>risk assessment high-level approach</a:t>
            </a:r>
            <a:endParaRPr lang="en-US" sz="2400" dirty="0"/>
          </a:p>
        </p:txBody>
      </p:sp>
      <p:sp>
        <p:nvSpPr>
          <p:cNvPr id="408580" name="Freeform 4"/>
          <p:cNvSpPr>
            <a:spLocks/>
          </p:cNvSpPr>
          <p:nvPr/>
        </p:nvSpPr>
        <p:spPr bwMode="auto">
          <a:xfrm>
            <a:off x="695325" y="1809750"/>
            <a:ext cx="7689850" cy="3689350"/>
          </a:xfrm>
          <a:custGeom>
            <a:avLst/>
            <a:gdLst/>
            <a:ahLst/>
            <a:cxnLst>
              <a:cxn ang="0">
                <a:pos x="0" y="296"/>
              </a:cxn>
              <a:cxn ang="0">
                <a:pos x="444" y="683"/>
              </a:cxn>
              <a:cxn ang="0">
                <a:pos x="1004" y="716"/>
              </a:cxn>
              <a:cxn ang="0">
                <a:pos x="1292" y="535"/>
              </a:cxn>
              <a:cxn ang="0">
                <a:pos x="1671" y="189"/>
              </a:cxn>
              <a:cxn ang="0">
                <a:pos x="2049" y="25"/>
              </a:cxn>
              <a:cxn ang="0">
                <a:pos x="2510" y="41"/>
              </a:cxn>
              <a:cxn ang="0">
                <a:pos x="2864" y="206"/>
              </a:cxn>
              <a:cxn ang="0">
                <a:pos x="3094" y="543"/>
              </a:cxn>
              <a:cxn ang="0">
                <a:pos x="3061" y="1029"/>
              </a:cxn>
              <a:cxn ang="0">
                <a:pos x="2642" y="1242"/>
              </a:cxn>
              <a:cxn ang="0">
                <a:pos x="2041" y="1193"/>
              </a:cxn>
              <a:cxn ang="0">
                <a:pos x="1564" y="1292"/>
              </a:cxn>
              <a:cxn ang="0">
                <a:pos x="1234" y="1572"/>
              </a:cxn>
              <a:cxn ang="0">
                <a:pos x="1160" y="1950"/>
              </a:cxn>
              <a:cxn ang="0">
                <a:pos x="1374" y="2271"/>
              </a:cxn>
              <a:cxn ang="0">
                <a:pos x="1827" y="2419"/>
              </a:cxn>
              <a:cxn ang="0">
                <a:pos x="2296" y="2411"/>
              </a:cxn>
              <a:cxn ang="0">
                <a:pos x="2699" y="2148"/>
              </a:cxn>
              <a:cxn ang="0">
                <a:pos x="3045" y="1851"/>
              </a:cxn>
              <a:cxn ang="0">
                <a:pos x="3390" y="1794"/>
              </a:cxn>
              <a:cxn ang="0">
                <a:pos x="3662" y="1975"/>
              </a:cxn>
              <a:cxn ang="0">
                <a:pos x="4073" y="2370"/>
              </a:cxn>
              <a:cxn ang="0">
                <a:pos x="4518" y="2485"/>
              </a:cxn>
              <a:cxn ang="0">
                <a:pos x="5201" y="2436"/>
              </a:cxn>
            </a:cxnLst>
            <a:rect l="0" t="0" r="r" b="b"/>
            <a:pathLst>
              <a:path w="5201" h="2496">
                <a:moveTo>
                  <a:pt x="0" y="296"/>
                </a:moveTo>
                <a:cubicBezTo>
                  <a:pt x="138" y="454"/>
                  <a:pt x="277" y="613"/>
                  <a:pt x="444" y="683"/>
                </a:cubicBezTo>
                <a:cubicBezTo>
                  <a:pt x="611" y="753"/>
                  <a:pt x="863" y="741"/>
                  <a:pt x="1004" y="716"/>
                </a:cubicBezTo>
                <a:cubicBezTo>
                  <a:pt x="1145" y="691"/>
                  <a:pt x="1181" y="623"/>
                  <a:pt x="1292" y="535"/>
                </a:cubicBezTo>
                <a:cubicBezTo>
                  <a:pt x="1403" y="447"/>
                  <a:pt x="1545" y="274"/>
                  <a:pt x="1671" y="189"/>
                </a:cubicBezTo>
                <a:cubicBezTo>
                  <a:pt x="1797" y="104"/>
                  <a:pt x="1909" y="50"/>
                  <a:pt x="2049" y="25"/>
                </a:cubicBezTo>
                <a:cubicBezTo>
                  <a:pt x="2189" y="0"/>
                  <a:pt x="2374" y="11"/>
                  <a:pt x="2510" y="41"/>
                </a:cubicBezTo>
                <a:cubicBezTo>
                  <a:pt x="2646" y="71"/>
                  <a:pt x="2767" y="122"/>
                  <a:pt x="2864" y="206"/>
                </a:cubicBezTo>
                <a:cubicBezTo>
                  <a:pt x="2961" y="290"/>
                  <a:pt x="3061" y="406"/>
                  <a:pt x="3094" y="543"/>
                </a:cubicBezTo>
                <a:cubicBezTo>
                  <a:pt x="3127" y="680"/>
                  <a:pt x="3136" y="913"/>
                  <a:pt x="3061" y="1029"/>
                </a:cubicBezTo>
                <a:cubicBezTo>
                  <a:pt x="2986" y="1145"/>
                  <a:pt x="2812" y="1215"/>
                  <a:pt x="2642" y="1242"/>
                </a:cubicBezTo>
                <a:cubicBezTo>
                  <a:pt x="2472" y="1269"/>
                  <a:pt x="2221" y="1185"/>
                  <a:pt x="2041" y="1193"/>
                </a:cubicBezTo>
                <a:cubicBezTo>
                  <a:pt x="1861" y="1201"/>
                  <a:pt x="1698" y="1229"/>
                  <a:pt x="1564" y="1292"/>
                </a:cubicBezTo>
                <a:cubicBezTo>
                  <a:pt x="1430" y="1355"/>
                  <a:pt x="1301" y="1462"/>
                  <a:pt x="1234" y="1572"/>
                </a:cubicBezTo>
                <a:cubicBezTo>
                  <a:pt x="1167" y="1682"/>
                  <a:pt x="1137" y="1834"/>
                  <a:pt x="1160" y="1950"/>
                </a:cubicBezTo>
                <a:cubicBezTo>
                  <a:pt x="1183" y="2066"/>
                  <a:pt x="1263" y="2193"/>
                  <a:pt x="1374" y="2271"/>
                </a:cubicBezTo>
                <a:cubicBezTo>
                  <a:pt x="1485" y="2349"/>
                  <a:pt x="1673" y="2396"/>
                  <a:pt x="1827" y="2419"/>
                </a:cubicBezTo>
                <a:cubicBezTo>
                  <a:pt x="1981" y="2442"/>
                  <a:pt x="2151" y="2456"/>
                  <a:pt x="2296" y="2411"/>
                </a:cubicBezTo>
                <a:cubicBezTo>
                  <a:pt x="2441" y="2366"/>
                  <a:pt x="2574" y="2241"/>
                  <a:pt x="2699" y="2148"/>
                </a:cubicBezTo>
                <a:cubicBezTo>
                  <a:pt x="2824" y="2055"/>
                  <a:pt x="2930" y="1910"/>
                  <a:pt x="3045" y="1851"/>
                </a:cubicBezTo>
                <a:cubicBezTo>
                  <a:pt x="3160" y="1792"/>
                  <a:pt x="3287" y="1773"/>
                  <a:pt x="3390" y="1794"/>
                </a:cubicBezTo>
                <a:cubicBezTo>
                  <a:pt x="3493" y="1815"/>
                  <a:pt x="3548" y="1879"/>
                  <a:pt x="3662" y="1975"/>
                </a:cubicBezTo>
                <a:cubicBezTo>
                  <a:pt x="3776" y="2071"/>
                  <a:pt x="3930" y="2285"/>
                  <a:pt x="4073" y="2370"/>
                </a:cubicBezTo>
                <a:cubicBezTo>
                  <a:pt x="4216" y="2455"/>
                  <a:pt x="4330" y="2474"/>
                  <a:pt x="4518" y="2485"/>
                </a:cubicBezTo>
                <a:cubicBezTo>
                  <a:pt x="4706" y="2496"/>
                  <a:pt x="5093" y="2451"/>
                  <a:pt x="5201" y="2436"/>
                </a:cubicBezTo>
              </a:path>
            </a:pathLst>
          </a:custGeom>
          <a:noFill/>
          <a:ln w="25400" cap="flat" cmpd="sng">
            <a:solidFill>
              <a:srgbClr val="000000"/>
            </a:solidFill>
            <a:prstDash val="solid"/>
            <a:round/>
            <a:headEnd/>
            <a:tailEnd/>
          </a:ln>
          <a:effectLst/>
        </p:spPr>
        <p:txBody>
          <a:bodyPr wrap="none" anchor="ctr"/>
          <a:lstStyle/>
          <a:p>
            <a:pPr>
              <a:defRPr/>
            </a:pPr>
            <a:endParaRPr lang="en-US" dirty="0">
              <a:effectLst>
                <a:outerShdw blurRad="38100" dist="38100" dir="2700000" algn="tl">
                  <a:srgbClr val="000000">
                    <a:alpha val="43137"/>
                  </a:srgbClr>
                </a:outerShdw>
              </a:effectLst>
            </a:endParaRPr>
          </a:p>
        </p:txBody>
      </p:sp>
      <p:sp>
        <p:nvSpPr>
          <p:cNvPr id="10245" name="Puzzle1"/>
          <p:cNvSpPr>
            <a:spLocks noEditPoints="1" noChangeArrowheads="1"/>
          </p:cNvSpPr>
          <p:nvPr/>
        </p:nvSpPr>
        <p:spPr bwMode="auto">
          <a:xfrm>
            <a:off x="228600" y="1905000"/>
            <a:ext cx="3429000" cy="1797050"/>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6086 w 21600"/>
              <a:gd name="T25" fmla="*/ 2569 h 21600"/>
              <a:gd name="T26" fmla="*/ 16132 w 21600"/>
              <a:gd name="T27" fmla="*/ 19552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9360" y="20836"/>
                </a:moveTo>
                <a:lnTo>
                  <a:pt x="9528" y="20836"/>
                </a:lnTo>
                <a:lnTo>
                  <a:pt x="9686" y="20762"/>
                </a:lnTo>
                <a:lnTo>
                  <a:pt x="9810" y="20687"/>
                </a:lnTo>
                <a:lnTo>
                  <a:pt x="9922" y="20575"/>
                </a:lnTo>
                <a:lnTo>
                  <a:pt x="10012" y="20426"/>
                </a:lnTo>
                <a:lnTo>
                  <a:pt x="10068" y="20296"/>
                </a:lnTo>
                <a:lnTo>
                  <a:pt x="10113" y="20110"/>
                </a:lnTo>
                <a:lnTo>
                  <a:pt x="10136" y="19905"/>
                </a:lnTo>
                <a:lnTo>
                  <a:pt x="10136" y="19682"/>
                </a:lnTo>
                <a:lnTo>
                  <a:pt x="10113" y="19440"/>
                </a:lnTo>
                <a:lnTo>
                  <a:pt x="10068" y="19142"/>
                </a:lnTo>
                <a:lnTo>
                  <a:pt x="10012" y="18900"/>
                </a:lnTo>
                <a:lnTo>
                  <a:pt x="9900" y="18620"/>
                </a:lnTo>
                <a:lnTo>
                  <a:pt x="9787" y="18285"/>
                </a:lnTo>
                <a:lnTo>
                  <a:pt x="9641" y="17968"/>
                </a:lnTo>
                <a:lnTo>
                  <a:pt x="9472" y="17652"/>
                </a:lnTo>
                <a:lnTo>
                  <a:pt x="9382" y="17466"/>
                </a:lnTo>
                <a:lnTo>
                  <a:pt x="9315" y="17298"/>
                </a:lnTo>
                <a:lnTo>
                  <a:pt x="9258" y="17112"/>
                </a:lnTo>
                <a:lnTo>
                  <a:pt x="9191" y="16926"/>
                </a:lnTo>
                <a:lnTo>
                  <a:pt x="9123" y="16535"/>
                </a:lnTo>
                <a:lnTo>
                  <a:pt x="9101" y="16144"/>
                </a:lnTo>
                <a:lnTo>
                  <a:pt x="9101" y="15753"/>
                </a:lnTo>
                <a:lnTo>
                  <a:pt x="9168" y="15362"/>
                </a:lnTo>
                <a:lnTo>
                  <a:pt x="9236" y="14971"/>
                </a:lnTo>
                <a:lnTo>
                  <a:pt x="9360" y="14580"/>
                </a:lnTo>
                <a:lnTo>
                  <a:pt x="9495" y="14244"/>
                </a:lnTo>
                <a:lnTo>
                  <a:pt x="9663" y="13891"/>
                </a:lnTo>
                <a:lnTo>
                  <a:pt x="9855" y="13611"/>
                </a:lnTo>
                <a:lnTo>
                  <a:pt x="10068" y="13351"/>
                </a:lnTo>
                <a:lnTo>
                  <a:pt x="10293" y="13146"/>
                </a:lnTo>
                <a:lnTo>
                  <a:pt x="10552" y="12997"/>
                </a:lnTo>
                <a:lnTo>
                  <a:pt x="10811" y="12885"/>
                </a:lnTo>
                <a:lnTo>
                  <a:pt x="11069" y="12866"/>
                </a:lnTo>
                <a:lnTo>
                  <a:pt x="11351" y="12885"/>
                </a:lnTo>
                <a:lnTo>
                  <a:pt x="11610" y="12997"/>
                </a:lnTo>
                <a:lnTo>
                  <a:pt x="11846" y="13183"/>
                </a:lnTo>
                <a:lnTo>
                  <a:pt x="12060" y="13388"/>
                </a:lnTo>
                <a:lnTo>
                  <a:pt x="12251" y="13648"/>
                </a:lnTo>
                <a:lnTo>
                  <a:pt x="12419" y="13928"/>
                </a:lnTo>
                <a:lnTo>
                  <a:pt x="12555" y="14244"/>
                </a:lnTo>
                <a:lnTo>
                  <a:pt x="12690" y="14617"/>
                </a:lnTo>
                <a:lnTo>
                  <a:pt x="12768" y="15008"/>
                </a:lnTo>
                <a:lnTo>
                  <a:pt x="12836" y="15399"/>
                </a:lnTo>
                <a:lnTo>
                  <a:pt x="12858" y="15753"/>
                </a:lnTo>
                <a:lnTo>
                  <a:pt x="12858" y="16144"/>
                </a:lnTo>
                <a:lnTo>
                  <a:pt x="12813" y="16535"/>
                </a:lnTo>
                <a:lnTo>
                  <a:pt x="12746" y="16888"/>
                </a:lnTo>
                <a:lnTo>
                  <a:pt x="12667" y="17224"/>
                </a:lnTo>
                <a:lnTo>
                  <a:pt x="12510" y="17503"/>
                </a:lnTo>
                <a:lnTo>
                  <a:pt x="12228" y="18043"/>
                </a:lnTo>
                <a:lnTo>
                  <a:pt x="11970" y="18546"/>
                </a:lnTo>
                <a:lnTo>
                  <a:pt x="11868" y="18751"/>
                </a:lnTo>
                <a:lnTo>
                  <a:pt x="11778" y="18974"/>
                </a:lnTo>
                <a:lnTo>
                  <a:pt x="11711" y="19179"/>
                </a:lnTo>
                <a:lnTo>
                  <a:pt x="11666" y="19365"/>
                </a:lnTo>
                <a:lnTo>
                  <a:pt x="11632" y="19570"/>
                </a:lnTo>
                <a:lnTo>
                  <a:pt x="11632" y="19756"/>
                </a:lnTo>
                <a:lnTo>
                  <a:pt x="11632" y="19942"/>
                </a:lnTo>
                <a:lnTo>
                  <a:pt x="11643" y="20110"/>
                </a:lnTo>
                <a:lnTo>
                  <a:pt x="11711" y="20296"/>
                </a:lnTo>
                <a:lnTo>
                  <a:pt x="11801" y="20464"/>
                </a:lnTo>
                <a:lnTo>
                  <a:pt x="11891" y="20650"/>
                </a:lnTo>
                <a:lnTo>
                  <a:pt x="12037" y="20836"/>
                </a:lnTo>
                <a:lnTo>
                  <a:pt x="12206" y="21004"/>
                </a:lnTo>
                <a:lnTo>
                  <a:pt x="12419" y="21190"/>
                </a:lnTo>
                <a:lnTo>
                  <a:pt x="12667" y="21320"/>
                </a:lnTo>
                <a:lnTo>
                  <a:pt x="12960" y="21432"/>
                </a:lnTo>
                <a:lnTo>
                  <a:pt x="13286" y="21544"/>
                </a:lnTo>
                <a:lnTo>
                  <a:pt x="13612" y="21655"/>
                </a:lnTo>
                <a:lnTo>
                  <a:pt x="13983" y="21693"/>
                </a:lnTo>
                <a:lnTo>
                  <a:pt x="14343" y="21730"/>
                </a:lnTo>
                <a:lnTo>
                  <a:pt x="14715" y="21730"/>
                </a:lnTo>
                <a:lnTo>
                  <a:pt x="15075" y="21730"/>
                </a:lnTo>
                <a:lnTo>
                  <a:pt x="15446" y="21655"/>
                </a:lnTo>
                <a:lnTo>
                  <a:pt x="15794" y="21581"/>
                </a:lnTo>
                <a:lnTo>
                  <a:pt x="16132" y="21432"/>
                </a:lnTo>
                <a:lnTo>
                  <a:pt x="16458" y="21302"/>
                </a:lnTo>
                <a:lnTo>
                  <a:pt x="16740" y="21078"/>
                </a:lnTo>
                <a:lnTo>
                  <a:pt x="16976" y="20836"/>
                </a:lnTo>
                <a:lnTo>
                  <a:pt x="17043" y="20650"/>
                </a:lnTo>
                <a:lnTo>
                  <a:pt x="17088" y="20426"/>
                </a:lnTo>
                <a:lnTo>
                  <a:pt x="17133" y="20222"/>
                </a:lnTo>
                <a:lnTo>
                  <a:pt x="17156" y="19980"/>
                </a:lnTo>
                <a:lnTo>
                  <a:pt x="17167" y="19477"/>
                </a:lnTo>
                <a:lnTo>
                  <a:pt x="17167" y="18974"/>
                </a:lnTo>
                <a:lnTo>
                  <a:pt x="17156" y="18397"/>
                </a:lnTo>
                <a:lnTo>
                  <a:pt x="17111" y="17820"/>
                </a:lnTo>
                <a:lnTo>
                  <a:pt x="17066" y="17261"/>
                </a:lnTo>
                <a:lnTo>
                  <a:pt x="16998" y="16646"/>
                </a:lnTo>
                <a:lnTo>
                  <a:pt x="16852" y="15511"/>
                </a:lnTo>
                <a:lnTo>
                  <a:pt x="16740" y="14393"/>
                </a:lnTo>
                <a:lnTo>
                  <a:pt x="16717" y="13928"/>
                </a:lnTo>
                <a:lnTo>
                  <a:pt x="16695" y="13462"/>
                </a:lnTo>
                <a:lnTo>
                  <a:pt x="16717" y="13071"/>
                </a:lnTo>
                <a:lnTo>
                  <a:pt x="16785" y="12755"/>
                </a:lnTo>
                <a:lnTo>
                  <a:pt x="16852" y="12419"/>
                </a:lnTo>
                <a:lnTo>
                  <a:pt x="16953" y="12140"/>
                </a:lnTo>
                <a:lnTo>
                  <a:pt x="17088" y="11898"/>
                </a:lnTo>
                <a:lnTo>
                  <a:pt x="17212" y="11675"/>
                </a:lnTo>
                <a:lnTo>
                  <a:pt x="17370" y="11470"/>
                </a:lnTo>
                <a:lnTo>
                  <a:pt x="17516" y="11284"/>
                </a:lnTo>
                <a:lnTo>
                  <a:pt x="17696" y="11135"/>
                </a:lnTo>
                <a:lnTo>
                  <a:pt x="17865" y="11042"/>
                </a:lnTo>
                <a:lnTo>
                  <a:pt x="18033" y="10930"/>
                </a:lnTo>
                <a:lnTo>
                  <a:pt x="18213" y="10893"/>
                </a:lnTo>
                <a:lnTo>
                  <a:pt x="18382" y="10893"/>
                </a:lnTo>
                <a:lnTo>
                  <a:pt x="18551" y="10967"/>
                </a:lnTo>
                <a:lnTo>
                  <a:pt x="18708" y="11042"/>
                </a:lnTo>
                <a:lnTo>
                  <a:pt x="18855" y="11172"/>
                </a:lnTo>
                <a:lnTo>
                  <a:pt x="19012" y="11358"/>
                </a:lnTo>
                <a:lnTo>
                  <a:pt x="19136" y="11600"/>
                </a:lnTo>
                <a:lnTo>
                  <a:pt x="19271" y="11861"/>
                </a:lnTo>
                <a:lnTo>
                  <a:pt x="19440" y="12028"/>
                </a:lnTo>
                <a:lnTo>
                  <a:pt x="19608" y="12177"/>
                </a:lnTo>
                <a:lnTo>
                  <a:pt x="19822" y="12289"/>
                </a:lnTo>
                <a:lnTo>
                  <a:pt x="20025" y="12289"/>
                </a:lnTo>
                <a:lnTo>
                  <a:pt x="20238" y="12289"/>
                </a:lnTo>
                <a:lnTo>
                  <a:pt x="20452" y="12215"/>
                </a:lnTo>
                <a:lnTo>
                  <a:pt x="20643" y="12103"/>
                </a:lnTo>
                <a:lnTo>
                  <a:pt x="20846" y="11973"/>
                </a:lnTo>
                <a:lnTo>
                  <a:pt x="21037" y="11786"/>
                </a:lnTo>
                <a:lnTo>
                  <a:pt x="21206" y="11563"/>
                </a:lnTo>
                <a:lnTo>
                  <a:pt x="21363" y="11321"/>
                </a:lnTo>
                <a:lnTo>
                  <a:pt x="21465" y="11079"/>
                </a:lnTo>
                <a:lnTo>
                  <a:pt x="21577" y="10744"/>
                </a:lnTo>
                <a:lnTo>
                  <a:pt x="21622" y="10427"/>
                </a:lnTo>
                <a:lnTo>
                  <a:pt x="21645" y="10111"/>
                </a:lnTo>
                <a:lnTo>
                  <a:pt x="21622" y="9608"/>
                </a:lnTo>
                <a:lnTo>
                  <a:pt x="21577" y="9142"/>
                </a:lnTo>
                <a:lnTo>
                  <a:pt x="21465" y="8751"/>
                </a:lnTo>
                <a:lnTo>
                  <a:pt x="21363" y="8397"/>
                </a:lnTo>
                <a:lnTo>
                  <a:pt x="21206" y="8062"/>
                </a:lnTo>
                <a:lnTo>
                  <a:pt x="21037" y="7820"/>
                </a:lnTo>
                <a:lnTo>
                  <a:pt x="20846" y="7597"/>
                </a:lnTo>
                <a:lnTo>
                  <a:pt x="20643" y="7429"/>
                </a:lnTo>
                <a:lnTo>
                  <a:pt x="20452" y="7317"/>
                </a:lnTo>
                <a:lnTo>
                  <a:pt x="20238" y="7206"/>
                </a:lnTo>
                <a:lnTo>
                  <a:pt x="20025" y="7168"/>
                </a:lnTo>
                <a:lnTo>
                  <a:pt x="19822" y="7206"/>
                </a:lnTo>
                <a:lnTo>
                  <a:pt x="19608" y="7243"/>
                </a:lnTo>
                <a:lnTo>
                  <a:pt x="19440" y="7355"/>
                </a:lnTo>
                <a:lnTo>
                  <a:pt x="19271" y="7504"/>
                </a:lnTo>
                <a:lnTo>
                  <a:pt x="19136" y="7708"/>
                </a:lnTo>
                <a:lnTo>
                  <a:pt x="19012" y="7895"/>
                </a:lnTo>
                <a:lnTo>
                  <a:pt x="18832" y="8025"/>
                </a:lnTo>
                <a:lnTo>
                  <a:pt x="18663" y="8174"/>
                </a:lnTo>
                <a:lnTo>
                  <a:pt x="18472" y="8248"/>
                </a:lnTo>
                <a:lnTo>
                  <a:pt x="18270" y="8286"/>
                </a:lnTo>
                <a:lnTo>
                  <a:pt x="18078" y="8323"/>
                </a:lnTo>
                <a:lnTo>
                  <a:pt x="17887" y="8323"/>
                </a:lnTo>
                <a:lnTo>
                  <a:pt x="17696" y="8248"/>
                </a:lnTo>
                <a:lnTo>
                  <a:pt x="17493" y="8174"/>
                </a:lnTo>
                <a:lnTo>
                  <a:pt x="17302" y="8062"/>
                </a:lnTo>
                <a:lnTo>
                  <a:pt x="17133" y="7969"/>
                </a:lnTo>
                <a:lnTo>
                  <a:pt x="16976" y="7783"/>
                </a:lnTo>
                <a:lnTo>
                  <a:pt x="16852" y="7597"/>
                </a:lnTo>
                <a:lnTo>
                  <a:pt x="16740" y="7429"/>
                </a:lnTo>
                <a:lnTo>
                  <a:pt x="16672" y="7168"/>
                </a:lnTo>
                <a:lnTo>
                  <a:pt x="16638" y="6926"/>
                </a:lnTo>
                <a:lnTo>
                  <a:pt x="16616" y="6498"/>
                </a:lnTo>
                <a:lnTo>
                  <a:pt x="16616" y="5772"/>
                </a:lnTo>
                <a:lnTo>
                  <a:pt x="16650" y="4915"/>
                </a:lnTo>
                <a:lnTo>
                  <a:pt x="16695" y="3928"/>
                </a:lnTo>
                <a:lnTo>
                  <a:pt x="16762" y="2960"/>
                </a:lnTo>
                <a:lnTo>
                  <a:pt x="16830" y="1992"/>
                </a:lnTo>
                <a:lnTo>
                  <a:pt x="16908" y="1173"/>
                </a:lnTo>
                <a:lnTo>
                  <a:pt x="16976" y="521"/>
                </a:lnTo>
                <a:lnTo>
                  <a:pt x="16953" y="521"/>
                </a:lnTo>
                <a:lnTo>
                  <a:pt x="16931" y="521"/>
                </a:lnTo>
                <a:lnTo>
                  <a:pt x="16267" y="484"/>
                </a:lnTo>
                <a:lnTo>
                  <a:pt x="15637" y="428"/>
                </a:lnTo>
                <a:lnTo>
                  <a:pt x="15063" y="353"/>
                </a:lnTo>
                <a:lnTo>
                  <a:pt x="14523" y="279"/>
                </a:lnTo>
                <a:lnTo>
                  <a:pt x="14040" y="167"/>
                </a:lnTo>
                <a:lnTo>
                  <a:pt x="13635" y="93"/>
                </a:lnTo>
                <a:lnTo>
                  <a:pt x="13331" y="18"/>
                </a:lnTo>
                <a:lnTo>
                  <a:pt x="13117" y="18"/>
                </a:lnTo>
                <a:lnTo>
                  <a:pt x="12982" y="18"/>
                </a:lnTo>
                <a:lnTo>
                  <a:pt x="12858" y="130"/>
                </a:lnTo>
                <a:lnTo>
                  <a:pt x="12723" y="279"/>
                </a:lnTo>
                <a:lnTo>
                  <a:pt x="12622" y="446"/>
                </a:lnTo>
                <a:lnTo>
                  <a:pt x="12510" y="670"/>
                </a:lnTo>
                <a:lnTo>
                  <a:pt x="12419" y="912"/>
                </a:lnTo>
                <a:lnTo>
                  <a:pt x="12363" y="1210"/>
                </a:lnTo>
                <a:lnTo>
                  <a:pt x="12318" y="1526"/>
                </a:lnTo>
                <a:lnTo>
                  <a:pt x="12273" y="1843"/>
                </a:lnTo>
                <a:lnTo>
                  <a:pt x="12251" y="2215"/>
                </a:lnTo>
                <a:lnTo>
                  <a:pt x="12273" y="2532"/>
                </a:lnTo>
                <a:lnTo>
                  <a:pt x="12318" y="2886"/>
                </a:lnTo>
                <a:lnTo>
                  <a:pt x="12386" y="3240"/>
                </a:lnTo>
                <a:lnTo>
                  <a:pt x="12464" y="3556"/>
                </a:lnTo>
                <a:lnTo>
                  <a:pt x="12577" y="3891"/>
                </a:lnTo>
                <a:lnTo>
                  <a:pt x="12746" y="4171"/>
                </a:lnTo>
                <a:lnTo>
                  <a:pt x="12926" y="4487"/>
                </a:lnTo>
                <a:lnTo>
                  <a:pt x="13050" y="4860"/>
                </a:lnTo>
                <a:lnTo>
                  <a:pt x="13162" y="5251"/>
                </a:lnTo>
                <a:lnTo>
                  <a:pt x="13218" y="5604"/>
                </a:lnTo>
                <a:lnTo>
                  <a:pt x="13263" y="5995"/>
                </a:lnTo>
                <a:lnTo>
                  <a:pt x="13241" y="6386"/>
                </a:lnTo>
                <a:lnTo>
                  <a:pt x="13218" y="6740"/>
                </a:lnTo>
                <a:lnTo>
                  <a:pt x="13139" y="7094"/>
                </a:lnTo>
                <a:lnTo>
                  <a:pt x="13050" y="7429"/>
                </a:lnTo>
                <a:lnTo>
                  <a:pt x="12903" y="7746"/>
                </a:lnTo>
                <a:lnTo>
                  <a:pt x="12723" y="8025"/>
                </a:lnTo>
                <a:lnTo>
                  <a:pt x="12532" y="8286"/>
                </a:lnTo>
                <a:lnTo>
                  <a:pt x="12318" y="8491"/>
                </a:lnTo>
                <a:lnTo>
                  <a:pt x="12060" y="8677"/>
                </a:lnTo>
                <a:lnTo>
                  <a:pt x="11756" y="8788"/>
                </a:lnTo>
                <a:lnTo>
                  <a:pt x="11452" y="8826"/>
                </a:lnTo>
                <a:lnTo>
                  <a:pt x="11283" y="8826"/>
                </a:lnTo>
                <a:lnTo>
                  <a:pt x="11126" y="8826"/>
                </a:lnTo>
                <a:lnTo>
                  <a:pt x="11002" y="8788"/>
                </a:lnTo>
                <a:lnTo>
                  <a:pt x="10845" y="8714"/>
                </a:lnTo>
                <a:lnTo>
                  <a:pt x="10721" y="8640"/>
                </a:lnTo>
                <a:lnTo>
                  <a:pt x="10608" y="8565"/>
                </a:lnTo>
                <a:lnTo>
                  <a:pt x="10485" y="8453"/>
                </a:lnTo>
                <a:lnTo>
                  <a:pt x="10372" y="8323"/>
                </a:lnTo>
                <a:lnTo>
                  <a:pt x="10181" y="8062"/>
                </a:lnTo>
                <a:lnTo>
                  <a:pt x="10035" y="7746"/>
                </a:lnTo>
                <a:lnTo>
                  <a:pt x="9900" y="7392"/>
                </a:lnTo>
                <a:lnTo>
                  <a:pt x="9787" y="7001"/>
                </a:lnTo>
                <a:lnTo>
                  <a:pt x="9731" y="6610"/>
                </a:lnTo>
                <a:lnTo>
                  <a:pt x="9686" y="6219"/>
                </a:lnTo>
                <a:lnTo>
                  <a:pt x="9663" y="5772"/>
                </a:lnTo>
                <a:lnTo>
                  <a:pt x="9686" y="5381"/>
                </a:lnTo>
                <a:lnTo>
                  <a:pt x="9753" y="4990"/>
                </a:lnTo>
                <a:lnTo>
                  <a:pt x="9832" y="4636"/>
                </a:lnTo>
                <a:lnTo>
                  <a:pt x="9945" y="4320"/>
                </a:lnTo>
                <a:lnTo>
                  <a:pt x="10068" y="4022"/>
                </a:lnTo>
                <a:lnTo>
                  <a:pt x="10203" y="3817"/>
                </a:lnTo>
                <a:lnTo>
                  <a:pt x="10316" y="3593"/>
                </a:lnTo>
                <a:lnTo>
                  <a:pt x="10395" y="3351"/>
                </a:lnTo>
                <a:lnTo>
                  <a:pt x="10462" y="3109"/>
                </a:lnTo>
                <a:lnTo>
                  <a:pt x="10507" y="2848"/>
                </a:lnTo>
                <a:lnTo>
                  <a:pt x="10530" y="2606"/>
                </a:lnTo>
                <a:lnTo>
                  <a:pt x="10507" y="2346"/>
                </a:lnTo>
                <a:lnTo>
                  <a:pt x="10462" y="2141"/>
                </a:lnTo>
                <a:lnTo>
                  <a:pt x="10395" y="1880"/>
                </a:lnTo>
                <a:lnTo>
                  <a:pt x="10293" y="1638"/>
                </a:lnTo>
                <a:lnTo>
                  <a:pt x="10158" y="1415"/>
                </a:lnTo>
                <a:lnTo>
                  <a:pt x="9967" y="1210"/>
                </a:lnTo>
                <a:lnTo>
                  <a:pt x="9753" y="986"/>
                </a:lnTo>
                <a:lnTo>
                  <a:pt x="9495" y="819"/>
                </a:lnTo>
                <a:lnTo>
                  <a:pt x="9191" y="670"/>
                </a:lnTo>
                <a:lnTo>
                  <a:pt x="8842" y="521"/>
                </a:lnTo>
                <a:lnTo>
                  <a:pt x="8471" y="446"/>
                </a:lnTo>
                <a:lnTo>
                  <a:pt x="7998" y="428"/>
                </a:lnTo>
                <a:lnTo>
                  <a:pt x="7413" y="428"/>
                </a:lnTo>
                <a:lnTo>
                  <a:pt x="6817" y="446"/>
                </a:lnTo>
                <a:lnTo>
                  <a:pt x="6187" y="521"/>
                </a:lnTo>
                <a:lnTo>
                  <a:pt x="5602" y="633"/>
                </a:lnTo>
                <a:lnTo>
                  <a:pt x="5107" y="744"/>
                </a:lnTo>
                <a:lnTo>
                  <a:pt x="4725" y="856"/>
                </a:lnTo>
                <a:lnTo>
                  <a:pt x="4848" y="1564"/>
                </a:lnTo>
                <a:lnTo>
                  <a:pt x="5028" y="2495"/>
                </a:lnTo>
                <a:lnTo>
                  <a:pt x="5175" y="3556"/>
                </a:lnTo>
                <a:lnTo>
                  <a:pt x="5298" y="4673"/>
                </a:lnTo>
                <a:lnTo>
                  <a:pt x="5343" y="5213"/>
                </a:lnTo>
                <a:lnTo>
                  <a:pt x="5388" y="5753"/>
                </a:lnTo>
                <a:lnTo>
                  <a:pt x="5411" y="6275"/>
                </a:lnTo>
                <a:lnTo>
                  <a:pt x="5411" y="6740"/>
                </a:lnTo>
                <a:lnTo>
                  <a:pt x="5366" y="7168"/>
                </a:lnTo>
                <a:lnTo>
                  <a:pt x="5321" y="7541"/>
                </a:lnTo>
                <a:lnTo>
                  <a:pt x="5287" y="7708"/>
                </a:lnTo>
                <a:lnTo>
                  <a:pt x="5242" y="7857"/>
                </a:lnTo>
                <a:lnTo>
                  <a:pt x="5197" y="7969"/>
                </a:lnTo>
                <a:lnTo>
                  <a:pt x="5130" y="8062"/>
                </a:lnTo>
                <a:lnTo>
                  <a:pt x="5006" y="8248"/>
                </a:lnTo>
                <a:lnTo>
                  <a:pt x="4848" y="8397"/>
                </a:lnTo>
                <a:lnTo>
                  <a:pt x="4725" y="8528"/>
                </a:lnTo>
                <a:lnTo>
                  <a:pt x="4567" y="8640"/>
                </a:lnTo>
                <a:lnTo>
                  <a:pt x="4421" y="8714"/>
                </a:lnTo>
                <a:lnTo>
                  <a:pt x="4263" y="8751"/>
                </a:lnTo>
                <a:lnTo>
                  <a:pt x="4095" y="8788"/>
                </a:lnTo>
                <a:lnTo>
                  <a:pt x="3948" y="8788"/>
                </a:lnTo>
                <a:lnTo>
                  <a:pt x="3791" y="8751"/>
                </a:lnTo>
                <a:lnTo>
                  <a:pt x="3667" y="8714"/>
                </a:lnTo>
                <a:lnTo>
                  <a:pt x="3510" y="8677"/>
                </a:lnTo>
                <a:lnTo>
                  <a:pt x="3386" y="8602"/>
                </a:lnTo>
                <a:lnTo>
                  <a:pt x="3251" y="8491"/>
                </a:lnTo>
                <a:lnTo>
                  <a:pt x="3127" y="8360"/>
                </a:lnTo>
                <a:lnTo>
                  <a:pt x="3015" y="8248"/>
                </a:lnTo>
                <a:lnTo>
                  <a:pt x="2925" y="8062"/>
                </a:lnTo>
                <a:lnTo>
                  <a:pt x="2778" y="7857"/>
                </a:lnTo>
                <a:lnTo>
                  <a:pt x="2610" y="7671"/>
                </a:lnTo>
                <a:lnTo>
                  <a:pt x="2407" y="7541"/>
                </a:lnTo>
                <a:lnTo>
                  <a:pt x="2171" y="7466"/>
                </a:lnTo>
                <a:lnTo>
                  <a:pt x="1957" y="7429"/>
                </a:lnTo>
                <a:lnTo>
                  <a:pt x="1698" y="7429"/>
                </a:lnTo>
                <a:lnTo>
                  <a:pt x="1462" y="7466"/>
                </a:lnTo>
                <a:lnTo>
                  <a:pt x="1226" y="7559"/>
                </a:lnTo>
                <a:lnTo>
                  <a:pt x="989" y="7708"/>
                </a:lnTo>
                <a:lnTo>
                  <a:pt x="776" y="7932"/>
                </a:lnTo>
                <a:lnTo>
                  <a:pt x="551" y="8211"/>
                </a:lnTo>
                <a:lnTo>
                  <a:pt x="382" y="8528"/>
                </a:lnTo>
                <a:lnTo>
                  <a:pt x="315" y="8714"/>
                </a:lnTo>
                <a:lnTo>
                  <a:pt x="236" y="8919"/>
                </a:lnTo>
                <a:lnTo>
                  <a:pt x="191" y="9142"/>
                </a:lnTo>
                <a:lnTo>
                  <a:pt x="123" y="9347"/>
                </a:lnTo>
                <a:lnTo>
                  <a:pt x="78" y="9608"/>
                </a:lnTo>
                <a:lnTo>
                  <a:pt x="56" y="9887"/>
                </a:lnTo>
                <a:lnTo>
                  <a:pt x="33" y="10185"/>
                </a:lnTo>
                <a:lnTo>
                  <a:pt x="33" y="10464"/>
                </a:lnTo>
                <a:lnTo>
                  <a:pt x="33" y="10706"/>
                </a:lnTo>
                <a:lnTo>
                  <a:pt x="56" y="10967"/>
                </a:lnTo>
                <a:lnTo>
                  <a:pt x="78" y="11172"/>
                </a:lnTo>
                <a:lnTo>
                  <a:pt x="123" y="11395"/>
                </a:lnTo>
                <a:lnTo>
                  <a:pt x="168" y="11600"/>
                </a:lnTo>
                <a:lnTo>
                  <a:pt x="236" y="11786"/>
                </a:lnTo>
                <a:lnTo>
                  <a:pt x="292" y="11973"/>
                </a:lnTo>
                <a:lnTo>
                  <a:pt x="382" y="12140"/>
                </a:lnTo>
                <a:lnTo>
                  <a:pt x="540" y="12419"/>
                </a:lnTo>
                <a:lnTo>
                  <a:pt x="731" y="12680"/>
                </a:lnTo>
                <a:lnTo>
                  <a:pt x="944" y="12866"/>
                </a:lnTo>
                <a:lnTo>
                  <a:pt x="1158" y="12997"/>
                </a:lnTo>
                <a:lnTo>
                  <a:pt x="1395" y="13108"/>
                </a:lnTo>
                <a:lnTo>
                  <a:pt x="1608" y="13183"/>
                </a:lnTo>
                <a:lnTo>
                  <a:pt x="1856" y="13183"/>
                </a:lnTo>
                <a:lnTo>
                  <a:pt x="2070" y="13146"/>
                </a:lnTo>
                <a:lnTo>
                  <a:pt x="2261" y="13071"/>
                </a:lnTo>
                <a:lnTo>
                  <a:pt x="2430" y="12960"/>
                </a:lnTo>
                <a:lnTo>
                  <a:pt x="2587" y="12792"/>
                </a:lnTo>
                <a:lnTo>
                  <a:pt x="2688" y="12606"/>
                </a:lnTo>
                <a:lnTo>
                  <a:pt x="2801" y="12419"/>
                </a:lnTo>
                <a:lnTo>
                  <a:pt x="2925" y="12289"/>
                </a:lnTo>
                <a:lnTo>
                  <a:pt x="3082" y="12177"/>
                </a:lnTo>
                <a:lnTo>
                  <a:pt x="3228" y="12103"/>
                </a:lnTo>
                <a:lnTo>
                  <a:pt x="3408" y="12103"/>
                </a:lnTo>
                <a:lnTo>
                  <a:pt x="3577" y="12103"/>
                </a:lnTo>
                <a:lnTo>
                  <a:pt x="3723" y="12177"/>
                </a:lnTo>
                <a:lnTo>
                  <a:pt x="3903" y="12252"/>
                </a:lnTo>
                <a:lnTo>
                  <a:pt x="4072" y="12364"/>
                </a:lnTo>
                <a:lnTo>
                  <a:pt x="4230" y="12494"/>
                </a:lnTo>
                <a:lnTo>
                  <a:pt x="4353" y="12643"/>
                </a:lnTo>
                <a:lnTo>
                  <a:pt x="4488" y="12829"/>
                </a:lnTo>
                <a:lnTo>
                  <a:pt x="4567" y="13034"/>
                </a:lnTo>
                <a:lnTo>
                  <a:pt x="4657" y="13257"/>
                </a:lnTo>
                <a:lnTo>
                  <a:pt x="4702" y="13462"/>
                </a:lnTo>
                <a:lnTo>
                  <a:pt x="4725" y="13686"/>
                </a:lnTo>
                <a:lnTo>
                  <a:pt x="4702" y="14282"/>
                </a:lnTo>
                <a:lnTo>
                  <a:pt x="4657" y="15045"/>
                </a:lnTo>
                <a:lnTo>
                  <a:pt x="4612" y="15976"/>
                </a:lnTo>
                <a:lnTo>
                  <a:pt x="4590" y="16926"/>
                </a:lnTo>
                <a:lnTo>
                  <a:pt x="4567" y="17968"/>
                </a:lnTo>
                <a:lnTo>
                  <a:pt x="4567" y="19011"/>
                </a:lnTo>
                <a:lnTo>
                  <a:pt x="4590" y="19514"/>
                </a:lnTo>
                <a:lnTo>
                  <a:pt x="4612" y="19980"/>
                </a:lnTo>
                <a:lnTo>
                  <a:pt x="4657" y="20426"/>
                </a:lnTo>
                <a:lnTo>
                  <a:pt x="4725" y="20836"/>
                </a:lnTo>
                <a:lnTo>
                  <a:pt x="4848" y="20929"/>
                </a:lnTo>
                <a:lnTo>
                  <a:pt x="5040" y="21004"/>
                </a:lnTo>
                <a:lnTo>
                  <a:pt x="5265" y="21078"/>
                </a:lnTo>
                <a:lnTo>
                  <a:pt x="5478" y="21115"/>
                </a:lnTo>
                <a:lnTo>
                  <a:pt x="6041" y="21115"/>
                </a:lnTo>
                <a:lnTo>
                  <a:pt x="6637" y="21078"/>
                </a:lnTo>
                <a:lnTo>
                  <a:pt x="7312" y="21004"/>
                </a:lnTo>
                <a:lnTo>
                  <a:pt x="7998" y="20929"/>
                </a:lnTo>
                <a:lnTo>
                  <a:pt x="8696" y="20855"/>
                </a:lnTo>
                <a:lnTo>
                  <a:pt x="9360" y="20836"/>
                </a:lnTo>
                <a:close/>
              </a:path>
            </a:pathLst>
          </a:custGeom>
          <a:solidFill>
            <a:srgbClr val="00B0F0"/>
          </a:solidFill>
          <a:ln w="28575">
            <a:noFill/>
            <a:miter lim="800000"/>
            <a:headEnd/>
            <a:tailEnd/>
          </a:ln>
        </p:spPr>
        <p:txBody>
          <a:bodyPr anchor="ctr" anchorCtr="1"/>
          <a:lstStyle/>
          <a:p>
            <a:pPr algn="ctr"/>
            <a:r>
              <a:rPr lang="en-US" sz="1400" b="1" dirty="0">
                <a:solidFill>
                  <a:srgbClr val="000000"/>
                </a:solidFill>
              </a:rPr>
              <a:t>1. Evaluate </a:t>
            </a:r>
            <a:r>
              <a:rPr lang="en-US" sz="1400" b="1" dirty="0" smtClean="0">
                <a:solidFill>
                  <a:srgbClr val="000000"/>
                </a:solidFill>
              </a:rPr>
              <a:t>Corruption Risk </a:t>
            </a:r>
            <a:r>
              <a:rPr lang="en-US" sz="1400" b="1" dirty="0">
                <a:solidFill>
                  <a:srgbClr val="000000"/>
                </a:solidFill>
              </a:rPr>
              <a:t>Factors</a:t>
            </a:r>
          </a:p>
        </p:txBody>
      </p:sp>
      <p:grpSp>
        <p:nvGrpSpPr>
          <p:cNvPr id="2" name="Group 15"/>
          <p:cNvGrpSpPr>
            <a:grpSpLocks/>
          </p:cNvGrpSpPr>
          <p:nvPr/>
        </p:nvGrpSpPr>
        <p:grpSpPr bwMode="auto">
          <a:xfrm>
            <a:off x="1981200" y="4190999"/>
            <a:ext cx="2590800" cy="2147462"/>
            <a:chOff x="1981200" y="4191000"/>
            <a:chExt cx="2590800" cy="2147888"/>
          </a:xfrm>
        </p:grpSpPr>
        <p:sp>
          <p:nvSpPr>
            <p:cNvPr id="10254" name="Puzzle3"/>
            <p:cNvSpPr>
              <a:spLocks noEditPoints="1" noChangeArrowheads="1"/>
            </p:cNvSpPr>
            <p:nvPr/>
          </p:nvSpPr>
          <p:spPr bwMode="auto">
            <a:xfrm>
              <a:off x="2057400" y="4191000"/>
              <a:ext cx="2265363" cy="2147888"/>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2273 w 21600"/>
                <a:gd name="T25" fmla="*/ 7719 h 21600"/>
                <a:gd name="T26" fmla="*/ 19149 w 21600"/>
                <a:gd name="T27" fmla="*/ 202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6625" y="20892"/>
                  </a:moveTo>
                  <a:lnTo>
                    <a:pt x="7105" y="21023"/>
                  </a:lnTo>
                  <a:lnTo>
                    <a:pt x="7513" y="21088"/>
                  </a:lnTo>
                  <a:lnTo>
                    <a:pt x="7922" y="21115"/>
                  </a:lnTo>
                  <a:lnTo>
                    <a:pt x="8242" y="21115"/>
                  </a:lnTo>
                  <a:lnTo>
                    <a:pt x="8544" y="21062"/>
                  </a:lnTo>
                  <a:lnTo>
                    <a:pt x="8810" y="20997"/>
                  </a:lnTo>
                  <a:lnTo>
                    <a:pt x="9023" y="20892"/>
                  </a:lnTo>
                  <a:lnTo>
                    <a:pt x="9148" y="20761"/>
                  </a:lnTo>
                  <a:lnTo>
                    <a:pt x="9290" y="20616"/>
                  </a:lnTo>
                  <a:lnTo>
                    <a:pt x="9361" y="20459"/>
                  </a:lnTo>
                  <a:lnTo>
                    <a:pt x="9396" y="20289"/>
                  </a:lnTo>
                  <a:lnTo>
                    <a:pt x="9396" y="20092"/>
                  </a:lnTo>
                  <a:lnTo>
                    <a:pt x="9325" y="19909"/>
                  </a:lnTo>
                  <a:lnTo>
                    <a:pt x="9219" y="19738"/>
                  </a:lnTo>
                  <a:lnTo>
                    <a:pt x="9094" y="19555"/>
                  </a:lnTo>
                  <a:lnTo>
                    <a:pt x="8917" y="19384"/>
                  </a:lnTo>
                  <a:lnTo>
                    <a:pt x="8650" y="19162"/>
                  </a:lnTo>
                  <a:lnTo>
                    <a:pt x="8437" y="18900"/>
                  </a:lnTo>
                  <a:lnTo>
                    <a:pt x="8277" y="18624"/>
                  </a:lnTo>
                  <a:lnTo>
                    <a:pt x="8135" y="18349"/>
                  </a:lnTo>
                  <a:lnTo>
                    <a:pt x="8028" y="18048"/>
                  </a:lnTo>
                  <a:lnTo>
                    <a:pt x="7993" y="17746"/>
                  </a:lnTo>
                  <a:lnTo>
                    <a:pt x="7993" y="17471"/>
                  </a:lnTo>
                  <a:lnTo>
                    <a:pt x="8028" y="17169"/>
                  </a:lnTo>
                  <a:lnTo>
                    <a:pt x="8135" y="16920"/>
                  </a:lnTo>
                  <a:lnTo>
                    <a:pt x="8277" y="16671"/>
                  </a:lnTo>
                  <a:lnTo>
                    <a:pt x="8366" y="16540"/>
                  </a:lnTo>
                  <a:lnTo>
                    <a:pt x="8473" y="16409"/>
                  </a:lnTo>
                  <a:lnTo>
                    <a:pt x="8615" y="16317"/>
                  </a:lnTo>
                  <a:lnTo>
                    <a:pt x="8739" y="16213"/>
                  </a:lnTo>
                  <a:lnTo>
                    <a:pt x="8881" y="16134"/>
                  </a:lnTo>
                  <a:lnTo>
                    <a:pt x="9059" y="16055"/>
                  </a:lnTo>
                  <a:lnTo>
                    <a:pt x="9254" y="15990"/>
                  </a:lnTo>
                  <a:lnTo>
                    <a:pt x="9432" y="15911"/>
                  </a:lnTo>
                  <a:lnTo>
                    <a:pt x="9663" y="15885"/>
                  </a:lnTo>
                  <a:lnTo>
                    <a:pt x="9876" y="15833"/>
                  </a:lnTo>
                  <a:lnTo>
                    <a:pt x="10142" y="15806"/>
                  </a:lnTo>
                  <a:lnTo>
                    <a:pt x="10391" y="15806"/>
                  </a:lnTo>
                  <a:lnTo>
                    <a:pt x="10728" y="15806"/>
                  </a:lnTo>
                  <a:lnTo>
                    <a:pt x="10995" y="15806"/>
                  </a:lnTo>
                  <a:lnTo>
                    <a:pt x="11279" y="15833"/>
                  </a:lnTo>
                  <a:lnTo>
                    <a:pt x="11546" y="15885"/>
                  </a:lnTo>
                  <a:lnTo>
                    <a:pt x="11776" y="15937"/>
                  </a:lnTo>
                  <a:lnTo>
                    <a:pt x="12025" y="15990"/>
                  </a:lnTo>
                  <a:lnTo>
                    <a:pt x="12221" y="16055"/>
                  </a:lnTo>
                  <a:lnTo>
                    <a:pt x="12434" y="16134"/>
                  </a:lnTo>
                  <a:lnTo>
                    <a:pt x="12611" y="16213"/>
                  </a:lnTo>
                  <a:lnTo>
                    <a:pt x="12771" y="16317"/>
                  </a:lnTo>
                  <a:lnTo>
                    <a:pt x="12913" y="16409"/>
                  </a:lnTo>
                  <a:lnTo>
                    <a:pt x="13038" y="16514"/>
                  </a:lnTo>
                  <a:lnTo>
                    <a:pt x="13251" y="16737"/>
                  </a:lnTo>
                  <a:lnTo>
                    <a:pt x="13428" y="16986"/>
                  </a:lnTo>
                  <a:lnTo>
                    <a:pt x="13517" y="17248"/>
                  </a:lnTo>
                  <a:lnTo>
                    <a:pt x="13588" y="17523"/>
                  </a:lnTo>
                  <a:lnTo>
                    <a:pt x="13588" y="17799"/>
                  </a:lnTo>
                  <a:lnTo>
                    <a:pt x="13517" y="18074"/>
                  </a:lnTo>
                  <a:lnTo>
                    <a:pt x="13428" y="18323"/>
                  </a:lnTo>
                  <a:lnTo>
                    <a:pt x="13286" y="18572"/>
                  </a:lnTo>
                  <a:lnTo>
                    <a:pt x="13109" y="18808"/>
                  </a:lnTo>
                  <a:lnTo>
                    <a:pt x="12878" y="19031"/>
                  </a:lnTo>
                  <a:lnTo>
                    <a:pt x="12434" y="19411"/>
                  </a:lnTo>
                  <a:lnTo>
                    <a:pt x="12132" y="19738"/>
                  </a:lnTo>
                  <a:lnTo>
                    <a:pt x="12025" y="19856"/>
                  </a:lnTo>
                  <a:lnTo>
                    <a:pt x="11919" y="20014"/>
                  </a:lnTo>
                  <a:lnTo>
                    <a:pt x="11883" y="20132"/>
                  </a:lnTo>
                  <a:lnTo>
                    <a:pt x="11883" y="20263"/>
                  </a:lnTo>
                  <a:lnTo>
                    <a:pt x="11883" y="20394"/>
                  </a:lnTo>
                  <a:lnTo>
                    <a:pt x="11954" y="20485"/>
                  </a:lnTo>
                  <a:lnTo>
                    <a:pt x="12061" y="20590"/>
                  </a:lnTo>
                  <a:lnTo>
                    <a:pt x="12185" y="20695"/>
                  </a:lnTo>
                  <a:lnTo>
                    <a:pt x="12327" y="20787"/>
                  </a:lnTo>
                  <a:lnTo>
                    <a:pt x="12540" y="20892"/>
                  </a:lnTo>
                  <a:lnTo>
                    <a:pt x="12771" y="20997"/>
                  </a:lnTo>
                  <a:lnTo>
                    <a:pt x="13073" y="21088"/>
                  </a:lnTo>
                  <a:lnTo>
                    <a:pt x="13428" y="21193"/>
                  </a:lnTo>
                  <a:lnTo>
                    <a:pt x="13873" y="21298"/>
                  </a:lnTo>
                  <a:lnTo>
                    <a:pt x="14317" y="21390"/>
                  </a:lnTo>
                  <a:lnTo>
                    <a:pt x="14778" y="21468"/>
                  </a:lnTo>
                  <a:lnTo>
                    <a:pt x="15294" y="21547"/>
                  </a:lnTo>
                  <a:lnTo>
                    <a:pt x="15809" y="21600"/>
                  </a:lnTo>
                  <a:lnTo>
                    <a:pt x="16359" y="21652"/>
                  </a:lnTo>
                  <a:lnTo>
                    <a:pt x="16875" y="21678"/>
                  </a:lnTo>
                  <a:lnTo>
                    <a:pt x="17407" y="21678"/>
                  </a:lnTo>
                  <a:lnTo>
                    <a:pt x="17958" y="21678"/>
                  </a:lnTo>
                  <a:lnTo>
                    <a:pt x="18473" y="21652"/>
                  </a:lnTo>
                  <a:lnTo>
                    <a:pt x="18953" y="21573"/>
                  </a:lnTo>
                  <a:lnTo>
                    <a:pt x="19397" y="21495"/>
                  </a:lnTo>
                  <a:lnTo>
                    <a:pt x="19841" y="21390"/>
                  </a:lnTo>
                  <a:lnTo>
                    <a:pt x="20214" y="21272"/>
                  </a:lnTo>
                  <a:lnTo>
                    <a:pt x="20551" y="21088"/>
                  </a:lnTo>
                  <a:lnTo>
                    <a:pt x="20480" y="20787"/>
                  </a:lnTo>
                  <a:lnTo>
                    <a:pt x="20409" y="20485"/>
                  </a:lnTo>
                  <a:lnTo>
                    <a:pt x="20356" y="20158"/>
                  </a:lnTo>
                  <a:lnTo>
                    <a:pt x="20356" y="19804"/>
                  </a:lnTo>
                  <a:lnTo>
                    <a:pt x="20321" y="19083"/>
                  </a:lnTo>
                  <a:lnTo>
                    <a:pt x="20356" y="18349"/>
                  </a:lnTo>
                  <a:lnTo>
                    <a:pt x="20409" y="17641"/>
                  </a:lnTo>
                  <a:lnTo>
                    <a:pt x="20480" y="17012"/>
                  </a:lnTo>
                  <a:lnTo>
                    <a:pt x="20551" y="16488"/>
                  </a:lnTo>
                  <a:lnTo>
                    <a:pt x="20551" y="16055"/>
                  </a:lnTo>
                  <a:lnTo>
                    <a:pt x="20551" y="15911"/>
                  </a:lnTo>
                  <a:lnTo>
                    <a:pt x="20445" y="15754"/>
                  </a:lnTo>
                  <a:lnTo>
                    <a:pt x="20356" y="15610"/>
                  </a:lnTo>
                  <a:lnTo>
                    <a:pt x="20178" y="15452"/>
                  </a:lnTo>
                  <a:lnTo>
                    <a:pt x="20001" y="15334"/>
                  </a:lnTo>
                  <a:lnTo>
                    <a:pt x="19770" y="15230"/>
                  </a:lnTo>
                  <a:lnTo>
                    <a:pt x="19521" y="15125"/>
                  </a:lnTo>
                  <a:lnTo>
                    <a:pt x="19290" y="15059"/>
                  </a:lnTo>
                  <a:lnTo>
                    <a:pt x="19024" y="15007"/>
                  </a:lnTo>
                  <a:lnTo>
                    <a:pt x="18740" y="14954"/>
                  </a:lnTo>
                  <a:lnTo>
                    <a:pt x="18509" y="14954"/>
                  </a:lnTo>
                  <a:lnTo>
                    <a:pt x="18225" y="14954"/>
                  </a:lnTo>
                  <a:lnTo>
                    <a:pt x="17994" y="15007"/>
                  </a:lnTo>
                  <a:lnTo>
                    <a:pt x="17763" y="15085"/>
                  </a:lnTo>
                  <a:lnTo>
                    <a:pt x="17550" y="15177"/>
                  </a:lnTo>
                  <a:lnTo>
                    <a:pt x="17372" y="15308"/>
                  </a:lnTo>
                  <a:lnTo>
                    <a:pt x="17176" y="15426"/>
                  </a:lnTo>
                  <a:lnTo>
                    <a:pt x="16928" y="15557"/>
                  </a:lnTo>
                  <a:lnTo>
                    <a:pt x="16661" y="15636"/>
                  </a:lnTo>
                  <a:lnTo>
                    <a:pt x="16359" y="15688"/>
                  </a:lnTo>
                  <a:lnTo>
                    <a:pt x="16022" y="15715"/>
                  </a:lnTo>
                  <a:lnTo>
                    <a:pt x="15667" y="15688"/>
                  </a:lnTo>
                  <a:lnTo>
                    <a:pt x="15294" y="15662"/>
                  </a:lnTo>
                  <a:lnTo>
                    <a:pt x="14956" y="15583"/>
                  </a:lnTo>
                  <a:lnTo>
                    <a:pt x="14619" y="15479"/>
                  </a:lnTo>
                  <a:lnTo>
                    <a:pt x="14281" y="15334"/>
                  </a:lnTo>
                  <a:lnTo>
                    <a:pt x="13961" y="15177"/>
                  </a:lnTo>
                  <a:lnTo>
                    <a:pt x="13695" y="14981"/>
                  </a:lnTo>
                  <a:lnTo>
                    <a:pt x="13588" y="14850"/>
                  </a:lnTo>
                  <a:lnTo>
                    <a:pt x="13482" y="14732"/>
                  </a:lnTo>
                  <a:lnTo>
                    <a:pt x="13393" y="14600"/>
                  </a:lnTo>
                  <a:lnTo>
                    <a:pt x="13322" y="14456"/>
                  </a:lnTo>
                  <a:lnTo>
                    <a:pt x="13251" y="14299"/>
                  </a:lnTo>
                  <a:lnTo>
                    <a:pt x="13215" y="14155"/>
                  </a:lnTo>
                  <a:lnTo>
                    <a:pt x="13180" y="13971"/>
                  </a:lnTo>
                  <a:lnTo>
                    <a:pt x="13180" y="13801"/>
                  </a:lnTo>
                  <a:lnTo>
                    <a:pt x="13180" y="13591"/>
                  </a:lnTo>
                  <a:lnTo>
                    <a:pt x="13215" y="13395"/>
                  </a:lnTo>
                  <a:lnTo>
                    <a:pt x="13251" y="13198"/>
                  </a:lnTo>
                  <a:lnTo>
                    <a:pt x="13322" y="13015"/>
                  </a:lnTo>
                  <a:lnTo>
                    <a:pt x="13393" y="12870"/>
                  </a:lnTo>
                  <a:lnTo>
                    <a:pt x="13482" y="12713"/>
                  </a:lnTo>
                  <a:lnTo>
                    <a:pt x="13588" y="12569"/>
                  </a:lnTo>
                  <a:lnTo>
                    <a:pt x="13730" y="12438"/>
                  </a:lnTo>
                  <a:lnTo>
                    <a:pt x="13997" y="12215"/>
                  </a:lnTo>
                  <a:lnTo>
                    <a:pt x="14334" y="12005"/>
                  </a:lnTo>
                  <a:lnTo>
                    <a:pt x="14690" y="11861"/>
                  </a:lnTo>
                  <a:lnTo>
                    <a:pt x="15063" y="11756"/>
                  </a:lnTo>
                  <a:lnTo>
                    <a:pt x="15436" y="11678"/>
                  </a:lnTo>
                  <a:lnTo>
                    <a:pt x="15809" y="11638"/>
                  </a:lnTo>
                  <a:lnTo>
                    <a:pt x="16182" y="11638"/>
                  </a:lnTo>
                  <a:lnTo>
                    <a:pt x="16555" y="11678"/>
                  </a:lnTo>
                  <a:lnTo>
                    <a:pt x="16910" y="11730"/>
                  </a:lnTo>
                  <a:lnTo>
                    <a:pt x="17248" y="11835"/>
                  </a:lnTo>
                  <a:lnTo>
                    <a:pt x="17514" y="11966"/>
                  </a:lnTo>
                  <a:lnTo>
                    <a:pt x="17763" y="12110"/>
                  </a:lnTo>
                  <a:lnTo>
                    <a:pt x="17887" y="12215"/>
                  </a:lnTo>
                  <a:lnTo>
                    <a:pt x="18065" y="12307"/>
                  </a:lnTo>
                  <a:lnTo>
                    <a:pt x="18260" y="12412"/>
                  </a:lnTo>
                  <a:lnTo>
                    <a:pt x="18438" y="12464"/>
                  </a:lnTo>
                  <a:lnTo>
                    <a:pt x="18669" y="12543"/>
                  </a:lnTo>
                  <a:lnTo>
                    <a:pt x="18882" y="12569"/>
                  </a:lnTo>
                  <a:lnTo>
                    <a:pt x="19113" y="12595"/>
                  </a:lnTo>
                  <a:lnTo>
                    <a:pt x="19361" y="12608"/>
                  </a:lnTo>
                  <a:lnTo>
                    <a:pt x="19592" y="12608"/>
                  </a:lnTo>
                  <a:lnTo>
                    <a:pt x="19841" y="12595"/>
                  </a:lnTo>
                  <a:lnTo>
                    <a:pt x="20072" y="12543"/>
                  </a:lnTo>
                  <a:lnTo>
                    <a:pt x="20321" y="12490"/>
                  </a:lnTo>
                  <a:lnTo>
                    <a:pt x="20551" y="12438"/>
                  </a:lnTo>
                  <a:lnTo>
                    <a:pt x="20800" y="12333"/>
                  </a:lnTo>
                  <a:lnTo>
                    <a:pt x="20996" y="12241"/>
                  </a:lnTo>
                  <a:lnTo>
                    <a:pt x="21244" y="12110"/>
                  </a:lnTo>
                  <a:lnTo>
                    <a:pt x="21298" y="12032"/>
                  </a:lnTo>
                  <a:lnTo>
                    <a:pt x="21404" y="11966"/>
                  </a:lnTo>
                  <a:lnTo>
                    <a:pt x="21475" y="11861"/>
                  </a:lnTo>
                  <a:lnTo>
                    <a:pt x="21511" y="11730"/>
                  </a:lnTo>
                  <a:lnTo>
                    <a:pt x="21617" y="11481"/>
                  </a:lnTo>
                  <a:lnTo>
                    <a:pt x="21653" y="11180"/>
                  </a:lnTo>
                  <a:lnTo>
                    <a:pt x="21653" y="10826"/>
                  </a:lnTo>
                  <a:lnTo>
                    <a:pt x="21653" y="10472"/>
                  </a:lnTo>
                  <a:lnTo>
                    <a:pt x="21582" y="10092"/>
                  </a:lnTo>
                  <a:lnTo>
                    <a:pt x="21511" y="9725"/>
                  </a:lnTo>
                  <a:lnTo>
                    <a:pt x="21298" y="8912"/>
                  </a:lnTo>
                  <a:lnTo>
                    <a:pt x="21067" y="8191"/>
                  </a:lnTo>
                  <a:lnTo>
                    <a:pt x="20800" y="7536"/>
                  </a:lnTo>
                  <a:lnTo>
                    <a:pt x="20551" y="7025"/>
                  </a:lnTo>
                  <a:lnTo>
                    <a:pt x="20001" y="7103"/>
                  </a:lnTo>
                  <a:lnTo>
                    <a:pt x="19432" y="7156"/>
                  </a:lnTo>
                  <a:lnTo>
                    <a:pt x="18846" y="7208"/>
                  </a:lnTo>
                  <a:lnTo>
                    <a:pt x="18225" y="7208"/>
                  </a:lnTo>
                  <a:lnTo>
                    <a:pt x="17656" y="7208"/>
                  </a:lnTo>
                  <a:lnTo>
                    <a:pt x="17070" y="7182"/>
                  </a:lnTo>
                  <a:lnTo>
                    <a:pt x="16484" y="7156"/>
                  </a:lnTo>
                  <a:lnTo>
                    <a:pt x="15986" y="7103"/>
                  </a:lnTo>
                  <a:lnTo>
                    <a:pt x="14992" y="6999"/>
                  </a:lnTo>
                  <a:lnTo>
                    <a:pt x="14210" y="6907"/>
                  </a:lnTo>
                  <a:lnTo>
                    <a:pt x="13695" y="6828"/>
                  </a:lnTo>
                  <a:lnTo>
                    <a:pt x="13517" y="6802"/>
                  </a:lnTo>
                  <a:lnTo>
                    <a:pt x="13073" y="6645"/>
                  </a:lnTo>
                  <a:lnTo>
                    <a:pt x="12700" y="6474"/>
                  </a:lnTo>
                  <a:lnTo>
                    <a:pt x="12363" y="6304"/>
                  </a:lnTo>
                  <a:lnTo>
                    <a:pt x="12132" y="6094"/>
                  </a:lnTo>
                  <a:lnTo>
                    <a:pt x="11919" y="5871"/>
                  </a:lnTo>
                  <a:lnTo>
                    <a:pt x="11776" y="5649"/>
                  </a:lnTo>
                  <a:lnTo>
                    <a:pt x="11688" y="5413"/>
                  </a:lnTo>
                  <a:lnTo>
                    <a:pt x="11617" y="5190"/>
                  </a:lnTo>
                  <a:lnTo>
                    <a:pt x="11617" y="4941"/>
                  </a:lnTo>
                  <a:lnTo>
                    <a:pt x="11652" y="4718"/>
                  </a:lnTo>
                  <a:lnTo>
                    <a:pt x="11723" y="4482"/>
                  </a:lnTo>
                  <a:lnTo>
                    <a:pt x="11812" y="4285"/>
                  </a:lnTo>
                  <a:lnTo>
                    <a:pt x="11919" y="4089"/>
                  </a:lnTo>
                  <a:lnTo>
                    <a:pt x="12096" y="3905"/>
                  </a:lnTo>
                  <a:lnTo>
                    <a:pt x="12292" y="3735"/>
                  </a:lnTo>
                  <a:lnTo>
                    <a:pt x="12505" y="3604"/>
                  </a:lnTo>
                  <a:lnTo>
                    <a:pt x="12700" y="3460"/>
                  </a:lnTo>
                  <a:lnTo>
                    <a:pt x="12878" y="3250"/>
                  </a:lnTo>
                  <a:lnTo>
                    <a:pt x="13038" y="3027"/>
                  </a:lnTo>
                  <a:lnTo>
                    <a:pt x="13180" y="2752"/>
                  </a:lnTo>
                  <a:lnTo>
                    <a:pt x="13286" y="2477"/>
                  </a:lnTo>
                  <a:lnTo>
                    <a:pt x="13322" y="2175"/>
                  </a:lnTo>
                  <a:lnTo>
                    <a:pt x="13357" y="1874"/>
                  </a:lnTo>
                  <a:lnTo>
                    <a:pt x="13286" y="1572"/>
                  </a:lnTo>
                  <a:lnTo>
                    <a:pt x="13180" y="1271"/>
                  </a:lnTo>
                  <a:lnTo>
                    <a:pt x="13038" y="983"/>
                  </a:lnTo>
                  <a:lnTo>
                    <a:pt x="12949" y="865"/>
                  </a:lnTo>
                  <a:lnTo>
                    <a:pt x="12807" y="733"/>
                  </a:lnTo>
                  <a:lnTo>
                    <a:pt x="12665" y="616"/>
                  </a:lnTo>
                  <a:lnTo>
                    <a:pt x="12505" y="511"/>
                  </a:lnTo>
                  <a:lnTo>
                    <a:pt x="12327" y="406"/>
                  </a:lnTo>
                  <a:lnTo>
                    <a:pt x="12132" y="314"/>
                  </a:lnTo>
                  <a:lnTo>
                    <a:pt x="11883" y="235"/>
                  </a:lnTo>
                  <a:lnTo>
                    <a:pt x="11652" y="183"/>
                  </a:lnTo>
                  <a:lnTo>
                    <a:pt x="11368" y="104"/>
                  </a:lnTo>
                  <a:lnTo>
                    <a:pt x="11101" y="78"/>
                  </a:lnTo>
                  <a:lnTo>
                    <a:pt x="10800" y="52"/>
                  </a:lnTo>
                  <a:lnTo>
                    <a:pt x="10444" y="52"/>
                  </a:lnTo>
                  <a:lnTo>
                    <a:pt x="10142" y="52"/>
                  </a:lnTo>
                  <a:lnTo>
                    <a:pt x="9840" y="78"/>
                  </a:lnTo>
                  <a:lnTo>
                    <a:pt x="9574" y="104"/>
                  </a:lnTo>
                  <a:lnTo>
                    <a:pt x="9325" y="157"/>
                  </a:lnTo>
                  <a:lnTo>
                    <a:pt x="9094" y="209"/>
                  </a:lnTo>
                  <a:lnTo>
                    <a:pt x="8846" y="262"/>
                  </a:lnTo>
                  <a:lnTo>
                    <a:pt x="8650" y="340"/>
                  </a:lnTo>
                  <a:lnTo>
                    <a:pt x="8437" y="432"/>
                  </a:lnTo>
                  <a:lnTo>
                    <a:pt x="8277" y="511"/>
                  </a:lnTo>
                  <a:lnTo>
                    <a:pt x="8100" y="616"/>
                  </a:lnTo>
                  <a:lnTo>
                    <a:pt x="7957" y="707"/>
                  </a:lnTo>
                  <a:lnTo>
                    <a:pt x="7833" y="838"/>
                  </a:lnTo>
                  <a:lnTo>
                    <a:pt x="7620" y="1061"/>
                  </a:lnTo>
                  <a:lnTo>
                    <a:pt x="7442" y="1336"/>
                  </a:lnTo>
                  <a:lnTo>
                    <a:pt x="7353" y="1599"/>
                  </a:lnTo>
                  <a:lnTo>
                    <a:pt x="7318" y="1900"/>
                  </a:lnTo>
                  <a:lnTo>
                    <a:pt x="7318" y="2175"/>
                  </a:lnTo>
                  <a:lnTo>
                    <a:pt x="7353" y="2450"/>
                  </a:lnTo>
                  <a:lnTo>
                    <a:pt x="7442" y="2726"/>
                  </a:lnTo>
                  <a:lnTo>
                    <a:pt x="7620" y="2975"/>
                  </a:lnTo>
                  <a:lnTo>
                    <a:pt x="7833" y="3198"/>
                  </a:lnTo>
                  <a:lnTo>
                    <a:pt x="8064" y="3433"/>
                  </a:lnTo>
                  <a:lnTo>
                    <a:pt x="8295" y="3630"/>
                  </a:lnTo>
                  <a:lnTo>
                    <a:pt x="8508" y="3853"/>
                  </a:lnTo>
                  <a:lnTo>
                    <a:pt x="8686" y="4089"/>
                  </a:lnTo>
                  <a:lnTo>
                    <a:pt x="8775" y="4312"/>
                  </a:lnTo>
                  <a:lnTo>
                    <a:pt x="8846" y="4561"/>
                  </a:lnTo>
                  <a:lnTo>
                    <a:pt x="8846" y="4810"/>
                  </a:lnTo>
                  <a:lnTo>
                    <a:pt x="8810" y="5059"/>
                  </a:lnTo>
                  <a:lnTo>
                    <a:pt x="8721" y="5295"/>
                  </a:lnTo>
                  <a:lnTo>
                    <a:pt x="8579" y="5544"/>
                  </a:lnTo>
                  <a:lnTo>
                    <a:pt x="8366" y="5766"/>
                  </a:lnTo>
                  <a:lnTo>
                    <a:pt x="8135" y="5976"/>
                  </a:lnTo>
                  <a:lnTo>
                    <a:pt x="7833" y="6199"/>
                  </a:lnTo>
                  <a:lnTo>
                    <a:pt x="7478" y="6369"/>
                  </a:lnTo>
                  <a:lnTo>
                    <a:pt x="7069" y="6527"/>
                  </a:lnTo>
                  <a:lnTo>
                    <a:pt x="6590" y="6671"/>
                  </a:lnTo>
                  <a:lnTo>
                    <a:pt x="6092" y="6802"/>
                  </a:lnTo>
                  <a:lnTo>
                    <a:pt x="5684" y="6802"/>
                  </a:lnTo>
                  <a:lnTo>
                    <a:pt x="5133" y="6802"/>
                  </a:lnTo>
                  <a:lnTo>
                    <a:pt x="4547" y="6802"/>
                  </a:lnTo>
                  <a:lnTo>
                    <a:pt x="3872" y="6802"/>
                  </a:lnTo>
                  <a:lnTo>
                    <a:pt x="3144" y="6802"/>
                  </a:lnTo>
                  <a:lnTo>
                    <a:pt x="2362" y="6802"/>
                  </a:lnTo>
                  <a:lnTo>
                    <a:pt x="1545" y="6802"/>
                  </a:lnTo>
                  <a:lnTo>
                    <a:pt x="692" y="6802"/>
                  </a:lnTo>
                  <a:lnTo>
                    <a:pt x="586" y="7234"/>
                  </a:lnTo>
                  <a:lnTo>
                    <a:pt x="461" y="7837"/>
                  </a:lnTo>
                  <a:lnTo>
                    <a:pt x="355" y="8493"/>
                  </a:lnTo>
                  <a:lnTo>
                    <a:pt x="248" y="9187"/>
                  </a:lnTo>
                  <a:lnTo>
                    <a:pt x="142" y="9869"/>
                  </a:lnTo>
                  <a:lnTo>
                    <a:pt x="106" y="10498"/>
                  </a:lnTo>
                  <a:lnTo>
                    <a:pt x="106" y="10983"/>
                  </a:lnTo>
                  <a:lnTo>
                    <a:pt x="106" y="11311"/>
                  </a:lnTo>
                  <a:lnTo>
                    <a:pt x="213" y="11481"/>
                  </a:lnTo>
                  <a:lnTo>
                    <a:pt x="319" y="11651"/>
                  </a:lnTo>
                  <a:lnTo>
                    <a:pt x="497" y="11783"/>
                  </a:lnTo>
                  <a:lnTo>
                    <a:pt x="692" y="11914"/>
                  </a:lnTo>
                  <a:lnTo>
                    <a:pt x="941" y="12032"/>
                  </a:lnTo>
                  <a:lnTo>
                    <a:pt x="1207" y="12110"/>
                  </a:lnTo>
                  <a:lnTo>
                    <a:pt x="1509" y="12189"/>
                  </a:lnTo>
                  <a:lnTo>
                    <a:pt x="1794" y="12241"/>
                  </a:lnTo>
                  <a:lnTo>
                    <a:pt x="2131" y="12267"/>
                  </a:lnTo>
                  <a:lnTo>
                    <a:pt x="2433" y="12281"/>
                  </a:lnTo>
                  <a:lnTo>
                    <a:pt x="2735" y="12267"/>
                  </a:lnTo>
                  <a:lnTo>
                    <a:pt x="3055" y="12241"/>
                  </a:lnTo>
                  <a:lnTo>
                    <a:pt x="3357" y="12189"/>
                  </a:lnTo>
                  <a:lnTo>
                    <a:pt x="3623" y="12084"/>
                  </a:lnTo>
                  <a:lnTo>
                    <a:pt x="3872" y="11979"/>
                  </a:lnTo>
                  <a:lnTo>
                    <a:pt x="4103" y="11861"/>
                  </a:lnTo>
                  <a:lnTo>
                    <a:pt x="4316" y="11704"/>
                  </a:lnTo>
                  <a:lnTo>
                    <a:pt x="4582" y="11612"/>
                  </a:lnTo>
                  <a:lnTo>
                    <a:pt x="4849" y="11533"/>
                  </a:lnTo>
                  <a:lnTo>
                    <a:pt x="5169" y="11507"/>
                  </a:lnTo>
                  <a:lnTo>
                    <a:pt x="5506" y="11481"/>
                  </a:lnTo>
                  <a:lnTo>
                    <a:pt x="5808" y="11507"/>
                  </a:lnTo>
                  <a:lnTo>
                    <a:pt x="6146" y="11560"/>
                  </a:lnTo>
                  <a:lnTo>
                    <a:pt x="6501" y="11651"/>
                  </a:lnTo>
                  <a:lnTo>
                    <a:pt x="6803" y="11783"/>
                  </a:lnTo>
                  <a:lnTo>
                    <a:pt x="7105" y="11940"/>
                  </a:lnTo>
                  <a:lnTo>
                    <a:pt x="7353" y="12110"/>
                  </a:lnTo>
                  <a:lnTo>
                    <a:pt x="7584" y="12333"/>
                  </a:lnTo>
                  <a:lnTo>
                    <a:pt x="7798" y="12595"/>
                  </a:lnTo>
                  <a:lnTo>
                    <a:pt x="7922" y="12870"/>
                  </a:lnTo>
                  <a:lnTo>
                    <a:pt x="8028" y="13198"/>
                  </a:lnTo>
                  <a:lnTo>
                    <a:pt x="8064" y="13526"/>
                  </a:lnTo>
                  <a:lnTo>
                    <a:pt x="8028" y="13775"/>
                  </a:lnTo>
                  <a:lnTo>
                    <a:pt x="7922" y="13998"/>
                  </a:lnTo>
                  <a:lnTo>
                    <a:pt x="7798" y="14220"/>
                  </a:lnTo>
                  <a:lnTo>
                    <a:pt x="7584" y="14404"/>
                  </a:lnTo>
                  <a:lnTo>
                    <a:pt x="7353" y="14574"/>
                  </a:lnTo>
                  <a:lnTo>
                    <a:pt x="7105" y="14732"/>
                  </a:lnTo>
                  <a:lnTo>
                    <a:pt x="6803" y="14850"/>
                  </a:lnTo>
                  <a:lnTo>
                    <a:pt x="6501" y="14954"/>
                  </a:lnTo>
                  <a:lnTo>
                    <a:pt x="6146" y="15033"/>
                  </a:lnTo>
                  <a:lnTo>
                    <a:pt x="5808" y="15085"/>
                  </a:lnTo>
                  <a:lnTo>
                    <a:pt x="5506" y="15085"/>
                  </a:lnTo>
                  <a:lnTo>
                    <a:pt x="5169" y="15059"/>
                  </a:lnTo>
                  <a:lnTo>
                    <a:pt x="4849" y="15007"/>
                  </a:lnTo>
                  <a:lnTo>
                    <a:pt x="4582" y="14902"/>
                  </a:lnTo>
                  <a:lnTo>
                    <a:pt x="4316" y="14784"/>
                  </a:lnTo>
                  <a:lnTo>
                    <a:pt x="4103" y="14600"/>
                  </a:lnTo>
                  <a:lnTo>
                    <a:pt x="3907" y="14430"/>
                  </a:lnTo>
                  <a:lnTo>
                    <a:pt x="3659" y="14299"/>
                  </a:lnTo>
                  <a:lnTo>
                    <a:pt x="3428" y="14194"/>
                  </a:lnTo>
                  <a:lnTo>
                    <a:pt x="3179" y="14129"/>
                  </a:lnTo>
                  <a:lnTo>
                    <a:pt x="2913" y="14102"/>
                  </a:lnTo>
                  <a:lnTo>
                    <a:pt x="2646" y="14102"/>
                  </a:lnTo>
                  <a:lnTo>
                    <a:pt x="2362" y="14129"/>
                  </a:lnTo>
                  <a:lnTo>
                    <a:pt x="2096" y="14168"/>
                  </a:lnTo>
                  <a:lnTo>
                    <a:pt x="1811" y="14273"/>
                  </a:lnTo>
                  <a:lnTo>
                    <a:pt x="1545" y="14378"/>
                  </a:lnTo>
                  <a:lnTo>
                    <a:pt x="1314" y="14496"/>
                  </a:lnTo>
                  <a:lnTo>
                    <a:pt x="1065" y="14653"/>
                  </a:lnTo>
                  <a:lnTo>
                    <a:pt x="870" y="14797"/>
                  </a:lnTo>
                  <a:lnTo>
                    <a:pt x="657" y="14981"/>
                  </a:lnTo>
                  <a:lnTo>
                    <a:pt x="497" y="15177"/>
                  </a:lnTo>
                  <a:lnTo>
                    <a:pt x="390" y="15413"/>
                  </a:lnTo>
                  <a:lnTo>
                    <a:pt x="284" y="15636"/>
                  </a:lnTo>
                  <a:lnTo>
                    <a:pt x="248" y="15911"/>
                  </a:lnTo>
                  <a:lnTo>
                    <a:pt x="284" y="16239"/>
                  </a:lnTo>
                  <a:lnTo>
                    <a:pt x="319" y="16566"/>
                  </a:lnTo>
                  <a:lnTo>
                    <a:pt x="497" y="17340"/>
                  </a:lnTo>
                  <a:lnTo>
                    <a:pt x="692" y="18152"/>
                  </a:lnTo>
                  <a:lnTo>
                    <a:pt x="799" y="18559"/>
                  </a:lnTo>
                  <a:lnTo>
                    <a:pt x="905" y="18978"/>
                  </a:lnTo>
                  <a:lnTo>
                    <a:pt x="959" y="19384"/>
                  </a:lnTo>
                  <a:lnTo>
                    <a:pt x="994" y="19791"/>
                  </a:lnTo>
                  <a:lnTo>
                    <a:pt x="994" y="20132"/>
                  </a:lnTo>
                  <a:lnTo>
                    <a:pt x="959" y="20485"/>
                  </a:lnTo>
                  <a:lnTo>
                    <a:pt x="941" y="20669"/>
                  </a:lnTo>
                  <a:lnTo>
                    <a:pt x="870" y="20813"/>
                  </a:lnTo>
                  <a:lnTo>
                    <a:pt x="799" y="20970"/>
                  </a:lnTo>
                  <a:lnTo>
                    <a:pt x="692" y="21088"/>
                  </a:lnTo>
                  <a:lnTo>
                    <a:pt x="1474" y="20997"/>
                  </a:lnTo>
                  <a:lnTo>
                    <a:pt x="2291" y="20866"/>
                  </a:lnTo>
                  <a:lnTo>
                    <a:pt x="3108" y="20787"/>
                  </a:lnTo>
                  <a:lnTo>
                    <a:pt x="3907" y="20721"/>
                  </a:lnTo>
                  <a:lnTo>
                    <a:pt x="4653" y="20695"/>
                  </a:lnTo>
                  <a:lnTo>
                    <a:pt x="5364" y="20695"/>
                  </a:lnTo>
                  <a:lnTo>
                    <a:pt x="5701" y="20721"/>
                  </a:lnTo>
                  <a:lnTo>
                    <a:pt x="6057" y="20761"/>
                  </a:lnTo>
                  <a:lnTo>
                    <a:pt x="6323" y="20813"/>
                  </a:lnTo>
                  <a:lnTo>
                    <a:pt x="6625" y="20892"/>
                  </a:lnTo>
                  <a:close/>
                </a:path>
              </a:pathLst>
            </a:custGeom>
            <a:solidFill>
              <a:srgbClr val="BF80BF"/>
            </a:solidFill>
            <a:ln w="28575">
              <a:noFill/>
              <a:miter lim="800000"/>
              <a:headEnd/>
              <a:tailEnd/>
            </a:ln>
          </p:spPr>
          <p:txBody>
            <a:bodyPr tIns="0" anchor="ctr" anchorCtr="1"/>
            <a:lstStyle/>
            <a:p>
              <a:endParaRPr lang="en-US" dirty="0"/>
            </a:p>
          </p:txBody>
        </p:sp>
        <p:sp>
          <p:nvSpPr>
            <p:cNvPr id="10255" name="Text Box 8"/>
            <p:cNvSpPr txBox="1">
              <a:spLocks noChangeArrowheads="1"/>
            </p:cNvSpPr>
            <p:nvPr/>
          </p:nvSpPr>
          <p:spPr bwMode="auto">
            <a:xfrm>
              <a:off x="1981200" y="4953000"/>
              <a:ext cx="2590800" cy="1154391"/>
            </a:xfrm>
            <a:prstGeom prst="rect">
              <a:avLst/>
            </a:prstGeom>
            <a:noFill/>
            <a:ln w="28575" algn="ctr">
              <a:noFill/>
              <a:miter lim="800000"/>
              <a:headEnd/>
              <a:tailEnd/>
            </a:ln>
          </p:spPr>
          <p:txBody>
            <a:bodyPr tIns="0" anchorCtr="1">
              <a:spAutoFit/>
            </a:bodyPr>
            <a:lstStyle/>
            <a:p>
              <a:r>
                <a:rPr lang="en-US" sz="1400" dirty="0">
                  <a:solidFill>
                    <a:srgbClr val="000000"/>
                  </a:solidFill>
                </a:rPr>
                <a:t>3.  Analyze Risks and Schemes and Evaluate Mitigating Controls</a:t>
              </a:r>
            </a:p>
            <a:p>
              <a:r>
                <a:rPr lang="en-US" sz="1400" dirty="0">
                  <a:solidFill>
                    <a:srgbClr val="000000"/>
                  </a:solidFill>
                </a:rPr>
                <a:t> </a:t>
              </a:r>
            </a:p>
            <a:p>
              <a:pPr algn="ctr"/>
              <a:endParaRPr lang="en-US" b="1" dirty="0">
                <a:solidFill>
                  <a:srgbClr val="000000"/>
                </a:solidFill>
              </a:endParaRPr>
            </a:p>
          </p:txBody>
        </p:sp>
      </p:grpSp>
      <p:grpSp>
        <p:nvGrpSpPr>
          <p:cNvPr id="3" name="Group 13"/>
          <p:cNvGrpSpPr>
            <a:grpSpLocks/>
          </p:cNvGrpSpPr>
          <p:nvPr/>
        </p:nvGrpSpPr>
        <p:grpSpPr bwMode="auto">
          <a:xfrm>
            <a:off x="5257800" y="3962400"/>
            <a:ext cx="3048000" cy="2338388"/>
            <a:chOff x="5257800" y="3962400"/>
            <a:chExt cx="3048000" cy="2338387"/>
          </a:xfrm>
        </p:grpSpPr>
        <p:sp>
          <p:nvSpPr>
            <p:cNvPr id="10252" name="Puzzle2"/>
            <p:cNvSpPr>
              <a:spLocks noEditPoints="1" noChangeArrowheads="1"/>
            </p:cNvSpPr>
            <p:nvPr/>
          </p:nvSpPr>
          <p:spPr bwMode="auto">
            <a:xfrm>
              <a:off x="5257800" y="3962400"/>
              <a:ext cx="3048000" cy="2338387"/>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5388 w 21600"/>
                <a:gd name="T25" fmla="*/ 6742 h 21600"/>
                <a:gd name="T26" fmla="*/ 16177 w 21600"/>
                <a:gd name="T27" fmla="*/ 20441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4247" y="12354"/>
                  </a:moveTo>
                  <a:lnTo>
                    <a:pt x="4134" y="12468"/>
                  </a:lnTo>
                  <a:lnTo>
                    <a:pt x="4010" y="12581"/>
                  </a:lnTo>
                  <a:lnTo>
                    <a:pt x="3897" y="12637"/>
                  </a:lnTo>
                  <a:lnTo>
                    <a:pt x="3773" y="12694"/>
                  </a:lnTo>
                  <a:lnTo>
                    <a:pt x="3637" y="12694"/>
                  </a:lnTo>
                  <a:lnTo>
                    <a:pt x="3524" y="12694"/>
                  </a:lnTo>
                  <a:lnTo>
                    <a:pt x="3400" y="12665"/>
                  </a:lnTo>
                  <a:lnTo>
                    <a:pt x="3287" y="12609"/>
                  </a:lnTo>
                  <a:lnTo>
                    <a:pt x="3027" y="12496"/>
                  </a:lnTo>
                  <a:lnTo>
                    <a:pt x="2790" y="12340"/>
                  </a:lnTo>
                  <a:lnTo>
                    <a:pt x="2530" y="12142"/>
                  </a:lnTo>
                  <a:lnTo>
                    <a:pt x="2293" y="11987"/>
                  </a:lnTo>
                  <a:lnTo>
                    <a:pt x="2033" y="11817"/>
                  </a:lnTo>
                  <a:lnTo>
                    <a:pt x="1773" y="11676"/>
                  </a:lnTo>
                  <a:lnTo>
                    <a:pt x="1638" y="11662"/>
                  </a:lnTo>
                  <a:lnTo>
                    <a:pt x="1513" y="11634"/>
                  </a:lnTo>
                  <a:lnTo>
                    <a:pt x="1378" y="11634"/>
                  </a:lnTo>
                  <a:lnTo>
                    <a:pt x="1253" y="11634"/>
                  </a:lnTo>
                  <a:lnTo>
                    <a:pt x="1118" y="11662"/>
                  </a:lnTo>
                  <a:lnTo>
                    <a:pt x="971" y="11732"/>
                  </a:lnTo>
                  <a:lnTo>
                    <a:pt x="835" y="11817"/>
                  </a:lnTo>
                  <a:lnTo>
                    <a:pt x="711" y="11959"/>
                  </a:lnTo>
                  <a:lnTo>
                    <a:pt x="553" y="12086"/>
                  </a:lnTo>
                  <a:lnTo>
                    <a:pt x="429" y="12284"/>
                  </a:lnTo>
                  <a:lnTo>
                    <a:pt x="271" y="12524"/>
                  </a:lnTo>
                  <a:lnTo>
                    <a:pt x="146" y="12793"/>
                  </a:lnTo>
                  <a:lnTo>
                    <a:pt x="79" y="12962"/>
                  </a:lnTo>
                  <a:lnTo>
                    <a:pt x="33" y="13146"/>
                  </a:lnTo>
                  <a:lnTo>
                    <a:pt x="11" y="13386"/>
                  </a:lnTo>
                  <a:lnTo>
                    <a:pt x="11" y="13641"/>
                  </a:lnTo>
                  <a:lnTo>
                    <a:pt x="33" y="13881"/>
                  </a:lnTo>
                  <a:lnTo>
                    <a:pt x="101" y="14150"/>
                  </a:lnTo>
                  <a:lnTo>
                    <a:pt x="192" y="14404"/>
                  </a:lnTo>
                  <a:lnTo>
                    <a:pt x="293" y="14645"/>
                  </a:lnTo>
                  <a:lnTo>
                    <a:pt x="451" y="14857"/>
                  </a:lnTo>
                  <a:lnTo>
                    <a:pt x="621" y="15054"/>
                  </a:lnTo>
                  <a:lnTo>
                    <a:pt x="734" y="15125"/>
                  </a:lnTo>
                  <a:lnTo>
                    <a:pt x="835" y="15210"/>
                  </a:lnTo>
                  <a:lnTo>
                    <a:pt x="948" y="15267"/>
                  </a:lnTo>
                  <a:lnTo>
                    <a:pt x="1084" y="15323"/>
                  </a:lnTo>
                  <a:lnTo>
                    <a:pt x="1208" y="15351"/>
                  </a:lnTo>
                  <a:lnTo>
                    <a:pt x="1355" y="15380"/>
                  </a:lnTo>
                  <a:lnTo>
                    <a:pt x="1513" y="15380"/>
                  </a:lnTo>
                  <a:lnTo>
                    <a:pt x="1683" y="15380"/>
                  </a:lnTo>
                  <a:lnTo>
                    <a:pt x="1864" y="15351"/>
                  </a:lnTo>
                  <a:lnTo>
                    <a:pt x="2033" y="15323"/>
                  </a:lnTo>
                  <a:lnTo>
                    <a:pt x="2225" y="15238"/>
                  </a:lnTo>
                  <a:lnTo>
                    <a:pt x="2428" y="15153"/>
                  </a:lnTo>
                  <a:lnTo>
                    <a:pt x="2745" y="15026"/>
                  </a:lnTo>
                  <a:lnTo>
                    <a:pt x="3005" y="14913"/>
                  </a:lnTo>
                  <a:lnTo>
                    <a:pt x="3264" y="14828"/>
                  </a:lnTo>
                  <a:lnTo>
                    <a:pt x="3513" y="14800"/>
                  </a:lnTo>
                  <a:lnTo>
                    <a:pt x="3615" y="14828"/>
                  </a:lnTo>
                  <a:lnTo>
                    <a:pt x="3728" y="14857"/>
                  </a:lnTo>
                  <a:lnTo>
                    <a:pt x="3807" y="14913"/>
                  </a:lnTo>
                  <a:lnTo>
                    <a:pt x="3920" y="14998"/>
                  </a:lnTo>
                  <a:lnTo>
                    <a:pt x="4010" y="15097"/>
                  </a:lnTo>
                  <a:lnTo>
                    <a:pt x="4089" y="15238"/>
                  </a:lnTo>
                  <a:lnTo>
                    <a:pt x="4179" y="15408"/>
                  </a:lnTo>
                  <a:lnTo>
                    <a:pt x="4247" y="15620"/>
                  </a:lnTo>
                  <a:lnTo>
                    <a:pt x="4326" y="15860"/>
                  </a:lnTo>
                  <a:lnTo>
                    <a:pt x="4394" y="16129"/>
                  </a:lnTo>
                  <a:lnTo>
                    <a:pt x="4439" y="16440"/>
                  </a:lnTo>
                  <a:lnTo>
                    <a:pt x="4507" y="16737"/>
                  </a:lnTo>
                  <a:lnTo>
                    <a:pt x="4552" y="17090"/>
                  </a:lnTo>
                  <a:lnTo>
                    <a:pt x="4575" y="17443"/>
                  </a:lnTo>
                  <a:lnTo>
                    <a:pt x="4586" y="17825"/>
                  </a:lnTo>
                  <a:lnTo>
                    <a:pt x="4586" y="18193"/>
                  </a:lnTo>
                  <a:lnTo>
                    <a:pt x="4586" y="18574"/>
                  </a:lnTo>
                  <a:lnTo>
                    <a:pt x="4586" y="18984"/>
                  </a:lnTo>
                  <a:lnTo>
                    <a:pt x="4552" y="19366"/>
                  </a:lnTo>
                  <a:lnTo>
                    <a:pt x="4507" y="19748"/>
                  </a:lnTo>
                  <a:lnTo>
                    <a:pt x="4462" y="20129"/>
                  </a:lnTo>
                  <a:lnTo>
                    <a:pt x="4371" y="20483"/>
                  </a:lnTo>
                  <a:lnTo>
                    <a:pt x="4292" y="20836"/>
                  </a:lnTo>
                  <a:lnTo>
                    <a:pt x="4202" y="21161"/>
                  </a:lnTo>
                  <a:lnTo>
                    <a:pt x="4744" y="21161"/>
                  </a:lnTo>
                  <a:lnTo>
                    <a:pt x="5264" y="21161"/>
                  </a:lnTo>
                  <a:lnTo>
                    <a:pt x="5784" y="21161"/>
                  </a:lnTo>
                  <a:lnTo>
                    <a:pt x="6235" y="21161"/>
                  </a:lnTo>
                  <a:lnTo>
                    <a:pt x="6676" y="21161"/>
                  </a:lnTo>
                  <a:lnTo>
                    <a:pt x="7060" y="21161"/>
                  </a:lnTo>
                  <a:lnTo>
                    <a:pt x="7410" y="21161"/>
                  </a:lnTo>
                  <a:lnTo>
                    <a:pt x="7670" y="21161"/>
                  </a:lnTo>
                  <a:lnTo>
                    <a:pt x="8020" y="21020"/>
                  </a:lnTo>
                  <a:lnTo>
                    <a:pt x="8303" y="20893"/>
                  </a:lnTo>
                  <a:lnTo>
                    <a:pt x="8563" y="20695"/>
                  </a:lnTo>
                  <a:lnTo>
                    <a:pt x="8800" y="20511"/>
                  </a:lnTo>
                  <a:lnTo>
                    <a:pt x="8969" y="20285"/>
                  </a:lnTo>
                  <a:lnTo>
                    <a:pt x="9150" y="20045"/>
                  </a:lnTo>
                  <a:lnTo>
                    <a:pt x="9252" y="19804"/>
                  </a:lnTo>
                  <a:lnTo>
                    <a:pt x="9342" y="19550"/>
                  </a:lnTo>
                  <a:lnTo>
                    <a:pt x="9410" y="19281"/>
                  </a:lnTo>
                  <a:lnTo>
                    <a:pt x="9433" y="19013"/>
                  </a:lnTo>
                  <a:lnTo>
                    <a:pt x="9433" y="18744"/>
                  </a:lnTo>
                  <a:lnTo>
                    <a:pt x="9387" y="18504"/>
                  </a:lnTo>
                  <a:lnTo>
                    <a:pt x="9320" y="18221"/>
                  </a:lnTo>
                  <a:lnTo>
                    <a:pt x="9207" y="17981"/>
                  </a:lnTo>
                  <a:lnTo>
                    <a:pt x="9105" y="17740"/>
                  </a:lnTo>
                  <a:lnTo>
                    <a:pt x="8924" y="17514"/>
                  </a:lnTo>
                  <a:lnTo>
                    <a:pt x="8777" y="17274"/>
                  </a:lnTo>
                  <a:lnTo>
                    <a:pt x="8642" y="17034"/>
                  </a:lnTo>
                  <a:lnTo>
                    <a:pt x="8563" y="16765"/>
                  </a:lnTo>
                  <a:lnTo>
                    <a:pt x="8472" y="16468"/>
                  </a:lnTo>
                  <a:lnTo>
                    <a:pt x="8450" y="16157"/>
                  </a:lnTo>
                  <a:lnTo>
                    <a:pt x="8450" y="15860"/>
                  </a:lnTo>
                  <a:lnTo>
                    <a:pt x="8472" y="15563"/>
                  </a:lnTo>
                  <a:lnTo>
                    <a:pt x="8540" y="15267"/>
                  </a:lnTo>
                  <a:lnTo>
                    <a:pt x="8642" y="14998"/>
                  </a:lnTo>
                  <a:lnTo>
                    <a:pt x="8777" y="14729"/>
                  </a:lnTo>
                  <a:lnTo>
                    <a:pt x="8868" y="14616"/>
                  </a:lnTo>
                  <a:lnTo>
                    <a:pt x="8969" y="14475"/>
                  </a:lnTo>
                  <a:lnTo>
                    <a:pt x="9060" y="14376"/>
                  </a:lnTo>
                  <a:lnTo>
                    <a:pt x="9184" y="14291"/>
                  </a:lnTo>
                  <a:lnTo>
                    <a:pt x="9297" y="14206"/>
                  </a:lnTo>
                  <a:lnTo>
                    <a:pt x="9433" y="14121"/>
                  </a:lnTo>
                  <a:lnTo>
                    <a:pt x="9579" y="14051"/>
                  </a:lnTo>
                  <a:lnTo>
                    <a:pt x="9726" y="13994"/>
                  </a:lnTo>
                  <a:lnTo>
                    <a:pt x="9884" y="13938"/>
                  </a:lnTo>
                  <a:lnTo>
                    <a:pt x="10054" y="13909"/>
                  </a:lnTo>
                  <a:lnTo>
                    <a:pt x="10257" y="13881"/>
                  </a:lnTo>
                  <a:lnTo>
                    <a:pt x="10449" y="13881"/>
                  </a:lnTo>
                  <a:lnTo>
                    <a:pt x="10664" y="13881"/>
                  </a:lnTo>
                  <a:lnTo>
                    <a:pt x="10856" y="13909"/>
                  </a:lnTo>
                  <a:lnTo>
                    <a:pt x="11037" y="13966"/>
                  </a:lnTo>
                  <a:lnTo>
                    <a:pt x="11206" y="14023"/>
                  </a:lnTo>
                  <a:lnTo>
                    <a:pt x="11353" y="14093"/>
                  </a:lnTo>
                  <a:lnTo>
                    <a:pt x="11511" y="14178"/>
                  </a:lnTo>
                  <a:lnTo>
                    <a:pt x="11635" y="14263"/>
                  </a:lnTo>
                  <a:lnTo>
                    <a:pt x="11748" y="14376"/>
                  </a:lnTo>
                  <a:lnTo>
                    <a:pt x="11861" y="14475"/>
                  </a:lnTo>
                  <a:lnTo>
                    <a:pt x="11941" y="14616"/>
                  </a:lnTo>
                  <a:lnTo>
                    <a:pt x="12031" y="14758"/>
                  </a:lnTo>
                  <a:lnTo>
                    <a:pt x="12099" y="14885"/>
                  </a:lnTo>
                  <a:lnTo>
                    <a:pt x="12200" y="15210"/>
                  </a:lnTo>
                  <a:lnTo>
                    <a:pt x="12268" y="15507"/>
                  </a:lnTo>
                  <a:lnTo>
                    <a:pt x="12291" y="15832"/>
                  </a:lnTo>
                  <a:lnTo>
                    <a:pt x="12291" y="16157"/>
                  </a:lnTo>
                  <a:lnTo>
                    <a:pt x="12246" y="16482"/>
                  </a:lnTo>
                  <a:lnTo>
                    <a:pt x="12178" y="16807"/>
                  </a:lnTo>
                  <a:lnTo>
                    <a:pt x="12099" y="17090"/>
                  </a:lnTo>
                  <a:lnTo>
                    <a:pt x="12008" y="17330"/>
                  </a:lnTo>
                  <a:lnTo>
                    <a:pt x="11884" y="17542"/>
                  </a:lnTo>
                  <a:lnTo>
                    <a:pt x="11748" y="17712"/>
                  </a:lnTo>
                  <a:lnTo>
                    <a:pt x="11613" y="17839"/>
                  </a:lnTo>
                  <a:lnTo>
                    <a:pt x="11489" y="18037"/>
                  </a:lnTo>
                  <a:lnTo>
                    <a:pt x="11398" y="18221"/>
                  </a:lnTo>
                  <a:lnTo>
                    <a:pt x="11319" y="18447"/>
                  </a:lnTo>
                  <a:lnTo>
                    <a:pt x="11251" y="18659"/>
                  </a:lnTo>
                  <a:lnTo>
                    <a:pt x="11206" y="18900"/>
                  </a:lnTo>
                  <a:lnTo>
                    <a:pt x="11184" y="19154"/>
                  </a:lnTo>
                  <a:lnTo>
                    <a:pt x="11184" y="19423"/>
                  </a:lnTo>
                  <a:lnTo>
                    <a:pt x="11229" y="19663"/>
                  </a:lnTo>
                  <a:lnTo>
                    <a:pt x="11297" y="19903"/>
                  </a:lnTo>
                  <a:lnTo>
                    <a:pt x="11376" y="20158"/>
                  </a:lnTo>
                  <a:lnTo>
                    <a:pt x="11511" y="20398"/>
                  </a:lnTo>
                  <a:lnTo>
                    <a:pt x="11681" y="20610"/>
                  </a:lnTo>
                  <a:lnTo>
                    <a:pt x="11884" y="20808"/>
                  </a:lnTo>
                  <a:lnTo>
                    <a:pt x="12121" y="20992"/>
                  </a:lnTo>
                  <a:lnTo>
                    <a:pt x="12404" y="21161"/>
                  </a:lnTo>
                  <a:lnTo>
                    <a:pt x="12528" y="21190"/>
                  </a:lnTo>
                  <a:lnTo>
                    <a:pt x="12856" y="21274"/>
                  </a:lnTo>
                  <a:lnTo>
                    <a:pt x="13330" y="21373"/>
                  </a:lnTo>
                  <a:lnTo>
                    <a:pt x="13963" y="21486"/>
                  </a:lnTo>
                  <a:lnTo>
                    <a:pt x="14313" y="21543"/>
                  </a:lnTo>
                  <a:lnTo>
                    <a:pt x="14652" y="21571"/>
                  </a:lnTo>
                  <a:lnTo>
                    <a:pt x="15025" y="21600"/>
                  </a:lnTo>
                  <a:lnTo>
                    <a:pt x="15409" y="21600"/>
                  </a:lnTo>
                  <a:lnTo>
                    <a:pt x="15782" y="21600"/>
                  </a:lnTo>
                  <a:lnTo>
                    <a:pt x="16177" y="21571"/>
                  </a:lnTo>
                  <a:lnTo>
                    <a:pt x="16516" y="21486"/>
                  </a:lnTo>
                  <a:lnTo>
                    <a:pt x="16889" y="21402"/>
                  </a:lnTo>
                  <a:lnTo>
                    <a:pt x="16821" y="21190"/>
                  </a:lnTo>
                  <a:lnTo>
                    <a:pt x="16776" y="20935"/>
                  </a:lnTo>
                  <a:lnTo>
                    <a:pt x="16742" y="20667"/>
                  </a:lnTo>
                  <a:lnTo>
                    <a:pt x="16719" y="20370"/>
                  </a:lnTo>
                  <a:lnTo>
                    <a:pt x="16697" y="19719"/>
                  </a:lnTo>
                  <a:lnTo>
                    <a:pt x="16697" y="19013"/>
                  </a:lnTo>
                  <a:lnTo>
                    <a:pt x="16719" y="18306"/>
                  </a:lnTo>
                  <a:lnTo>
                    <a:pt x="16753" y="17599"/>
                  </a:lnTo>
                  <a:lnTo>
                    <a:pt x="16821" y="16949"/>
                  </a:lnTo>
                  <a:lnTo>
                    <a:pt x="16889" y="16383"/>
                  </a:lnTo>
                  <a:lnTo>
                    <a:pt x="16934" y="16129"/>
                  </a:lnTo>
                  <a:lnTo>
                    <a:pt x="17002" y="15945"/>
                  </a:lnTo>
                  <a:lnTo>
                    <a:pt x="17081" y="15790"/>
                  </a:lnTo>
                  <a:lnTo>
                    <a:pt x="17194" y="15648"/>
                  </a:lnTo>
                  <a:lnTo>
                    <a:pt x="17318" y="15563"/>
                  </a:lnTo>
                  <a:lnTo>
                    <a:pt x="17453" y="15507"/>
                  </a:lnTo>
                  <a:lnTo>
                    <a:pt x="17600" y="15450"/>
                  </a:lnTo>
                  <a:lnTo>
                    <a:pt x="17758" y="15450"/>
                  </a:lnTo>
                  <a:lnTo>
                    <a:pt x="17905" y="15479"/>
                  </a:lnTo>
                  <a:lnTo>
                    <a:pt x="18064" y="15535"/>
                  </a:lnTo>
                  <a:lnTo>
                    <a:pt x="18233" y="15620"/>
                  </a:lnTo>
                  <a:lnTo>
                    <a:pt x="18380" y="15733"/>
                  </a:lnTo>
                  <a:lnTo>
                    <a:pt x="18561" y="15832"/>
                  </a:lnTo>
                  <a:lnTo>
                    <a:pt x="18707" y="15973"/>
                  </a:lnTo>
                  <a:lnTo>
                    <a:pt x="18866" y="16129"/>
                  </a:lnTo>
                  <a:lnTo>
                    <a:pt x="18990" y="16327"/>
                  </a:lnTo>
                  <a:lnTo>
                    <a:pt x="19125" y="16482"/>
                  </a:lnTo>
                  <a:lnTo>
                    <a:pt x="19295" y="16624"/>
                  </a:lnTo>
                  <a:lnTo>
                    <a:pt x="19464" y="16737"/>
                  </a:lnTo>
                  <a:lnTo>
                    <a:pt x="19668" y="16807"/>
                  </a:lnTo>
                  <a:lnTo>
                    <a:pt x="19860" y="16836"/>
                  </a:lnTo>
                  <a:lnTo>
                    <a:pt x="20052" y="16864"/>
                  </a:lnTo>
                  <a:lnTo>
                    <a:pt x="20266" y="16836"/>
                  </a:lnTo>
                  <a:lnTo>
                    <a:pt x="20470" y="16793"/>
                  </a:lnTo>
                  <a:lnTo>
                    <a:pt x="20662" y="16708"/>
                  </a:lnTo>
                  <a:lnTo>
                    <a:pt x="20854" y="16567"/>
                  </a:lnTo>
                  <a:lnTo>
                    <a:pt x="21035" y="16412"/>
                  </a:lnTo>
                  <a:lnTo>
                    <a:pt x="21182" y="16214"/>
                  </a:lnTo>
                  <a:lnTo>
                    <a:pt x="21340" y="16002"/>
                  </a:lnTo>
                  <a:lnTo>
                    <a:pt x="21441" y="15733"/>
                  </a:lnTo>
                  <a:lnTo>
                    <a:pt x="21532" y="15436"/>
                  </a:lnTo>
                  <a:lnTo>
                    <a:pt x="21600" y="15083"/>
                  </a:lnTo>
                  <a:lnTo>
                    <a:pt x="21600" y="14885"/>
                  </a:lnTo>
                  <a:lnTo>
                    <a:pt x="21600" y="14729"/>
                  </a:lnTo>
                  <a:lnTo>
                    <a:pt x="21600" y="14531"/>
                  </a:lnTo>
                  <a:lnTo>
                    <a:pt x="21577" y="14376"/>
                  </a:lnTo>
                  <a:lnTo>
                    <a:pt x="21532" y="14206"/>
                  </a:lnTo>
                  <a:lnTo>
                    <a:pt x="21487" y="14051"/>
                  </a:lnTo>
                  <a:lnTo>
                    <a:pt x="21419" y="13909"/>
                  </a:lnTo>
                  <a:lnTo>
                    <a:pt x="21351" y="13768"/>
                  </a:lnTo>
                  <a:lnTo>
                    <a:pt x="21204" y="13500"/>
                  </a:lnTo>
                  <a:lnTo>
                    <a:pt x="21035" y="13287"/>
                  </a:lnTo>
                  <a:lnTo>
                    <a:pt x="20809" y="13090"/>
                  </a:lnTo>
                  <a:lnTo>
                    <a:pt x="20594" y="12962"/>
                  </a:lnTo>
                  <a:lnTo>
                    <a:pt x="20357" y="12821"/>
                  </a:lnTo>
                  <a:lnTo>
                    <a:pt x="20120" y="12764"/>
                  </a:lnTo>
                  <a:lnTo>
                    <a:pt x="19882" y="12708"/>
                  </a:lnTo>
                  <a:lnTo>
                    <a:pt x="19645" y="12736"/>
                  </a:lnTo>
                  <a:lnTo>
                    <a:pt x="19430" y="12793"/>
                  </a:lnTo>
                  <a:lnTo>
                    <a:pt x="19227" y="12906"/>
                  </a:lnTo>
                  <a:lnTo>
                    <a:pt x="19148" y="12962"/>
                  </a:lnTo>
                  <a:lnTo>
                    <a:pt x="19058" y="13047"/>
                  </a:lnTo>
                  <a:lnTo>
                    <a:pt x="18990" y="13146"/>
                  </a:lnTo>
                  <a:lnTo>
                    <a:pt x="18911" y="13259"/>
                  </a:lnTo>
                  <a:lnTo>
                    <a:pt x="18775" y="13471"/>
                  </a:lnTo>
                  <a:lnTo>
                    <a:pt x="18628" y="13641"/>
                  </a:lnTo>
                  <a:lnTo>
                    <a:pt x="18470" y="13740"/>
                  </a:lnTo>
                  <a:lnTo>
                    <a:pt x="18301" y="13825"/>
                  </a:lnTo>
                  <a:lnTo>
                    <a:pt x="18143" y="13853"/>
                  </a:lnTo>
                  <a:lnTo>
                    <a:pt x="17973" y="13881"/>
                  </a:lnTo>
                  <a:lnTo>
                    <a:pt x="17804" y="13853"/>
                  </a:lnTo>
                  <a:lnTo>
                    <a:pt x="17646" y="13796"/>
                  </a:lnTo>
                  <a:lnTo>
                    <a:pt x="17499" y="13726"/>
                  </a:lnTo>
                  <a:lnTo>
                    <a:pt x="17341" y="13641"/>
                  </a:lnTo>
                  <a:lnTo>
                    <a:pt x="17216" y="13528"/>
                  </a:lnTo>
                  <a:lnTo>
                    <a:pt x="17103" y="13386"/>
                  </a:lnTo>
                  <a:lnTo>
                    <a:pt x="17024" y="13259"/>
                  </a:lnTo>
                  <a:lnTo>
                    <a:pt x="16934" y="13118"/>
                  </a:lnTo>
                  <a:lnTo>
                    <a:pt x="16889" y="12991"/>
                  </a:lnTo>
                  <a:lnTo>
                    <a:pt x="16889" y="12849"/>
                  </a:lnTo>
                  <a:lnTo>
                    <a:pt x="16889" y="12383"/>
                  </a:lnTo>
                  <a:lnTo>
                    <a:pt x="16889" y="11662"/>
                  </a:lnTo>
                  <a:lnTo>
                    <a:pt x="16889" y="10701"/>
                  </a:lnTo>
                  <a:lnTo>
                    <a:pt x="16889" y="9640"/>
                  </a:lnTo>
                  <a:lnTo>
                    <a:pt x="16889" y="8566"/>
                  </a:lnTo>
                  <a:lnTo>
                    <a:pt x="16889" y="7478"/>
                  </a:lnTo>
                  <a:lnTo>
                    <a:pt x="16889" y="6502"/>
                  </a:lnTo>
                  <a:lnTo>
                    <a:pt x="16889" y="5739"/>
                  </a:lnTo>
                  <a:lnTo>
                    <a:pt x="16674" y="5894"/>
                  </a:lnTo>
                  <a:lnTo>
                    <a:pt x="16414" y="6036"/>
                  </a:lnTo>
                  <a:lnTo>
                    <a:pt x="16154" y="6177"/>
                  </a:lnTo>
                  <a:lnTo>
                    <a:pt x="15849" y="6248"/>
                  </a:lnTo>
                  <a:lnTo>
                    <a:pt x="15544" y="6304"/>
                  </a:lnTo>
                  <a:lnTo>
                    <a:pt x="15217" y="6332"/>
                  </a:lnTo>
                  <a:lnTo>
                    <a:pt x="14866" y="6361"/>
                  </a:lnTo>
                  <a:lnTo>
                    <a:pt x="14550" y="6361"/>
                  </a:lnTo>
                  <a:lnTo>
                    <a:pt x="14200" y="6332"/>
                  </a:lnTo>
                  <a:lnTo>
                    <a:pt x="13850" y="6276"/>
                  </a:lnTo>
                  <a:lnTo>
                    <a:pt x="13522" y="6219"/>
                  </a:lnTo>
                  <a:lnTo>
                    <a:pt x="13206" y="6149"/>
                  </a:lnTo>
                  <a:lnTo>
                    <a:pt x="12901" y="6064"/>
                  </a:lnTo>
                  <a:lnTo>
                    <a:pt x="12618" y="5951"/>
                  </a:lnTo>
                  <a:lnTo>
                    <a:pt x="12358" y="5838"/>
                  </a:lnTo>
                  <a:lnTo>
                    <a:pt x="12121" y="5739"/>
                  </a:lnTo>
                  <a:lnTo>
                    <a:pt x="11941" y="5626"/>
                  </a:lnTo>
                  <a:lnTo>
                    <a:pt x="11794" y="5513"/>
                  </a:lnTo>
                  <a:lnTo>
                    <a:pt x="11658" y="5414"/>
                  </a:lnTo>
                  <a:lnTo>
                    <a:pt x="11556" y="5301"/>
                  </a:lnTo>
                  <a:lnTo>
                    <a:pt x="11466" y="5187"/>
                  </a:lnTo>
                  <a:lnTo>
                    <a:pt x="11398" y="5089"/>
                  </a:lnTo>
                  <a:lnTo>
                    <a:pt x="11376" y="4947"/>
                  </a:lnTo>
                  <a:lnTo>
                    <a:pt x="11353" y="4834"/>
                  </a:lnTo>
                  <a:lnTo>
                    <a:pt x="11353" y="4707"/>
                  </a:lnTo>
                  <a:lnTo>
                    <a:pt x="11376" y="4565"/>
                  </a:lnTo>
                  <a:lnTo>
                    <a:pt x="11443" y="4410"/>
                  </a:lnTo>
                  <a:lnTo>
                    <a:pt x="11511" y="4240"/>
                  </a:lnTo>
                  <a:lnTo>
                    <a:pt x="11703" y="3887"/>
                  </a:lnTo>
                  <a:lnTo>
                    <a:pt x="11986" y="3505"/>
                  </a:lnTo>
                  <a:lnTo>
                    <a:pt x="12144" y="3265"/>
                  </a:lnTo>
                  <a:lnTo>
                    <a:pt x="12246" y="3025"/>
                  </a:lnTo>
                  <a:lnTo>
                    <a:pt x="12336" y="2756"/>
                  </a:lnTo>
                  <a:lnTo>
                    <a:pt x="12404" y="2445"/>
                  </a:lnTo>
                  <a:lnTo>
                    <a:pt x="12438" y="2176"/>
                  </a:lnTo>
                  <a:lnTo>
                    <a:pt x="12438" y="1880"/>
                  </a:lnTo>
                  <a:lnTo>
                    <a:pt x="12404" y="1583"/>
                  </a:lnTo>
                  <a:lnTo>
                    <a:pt x="12336" y="1314"/>
                  </a:lnTo>
                  <a:lnTo>
                    <a:pt x="12246" y="1046"/>
                  </a:lnTo>
                  <a:lnTo>
                    <a:pt x="12099" y="791"/>
                  </a:lnTo>
                  <a:lnTo>
                    <a:pt x="12008" y="692"/>
                  </a:lnTo>
                  <a:lnTo>
                    <a:pt x="11918" y="579"/>
                  </a:lnTo>
                  <a:lnTo>
                    <a:pt x="11816" y="466"/>
                  </a:lnTo>
                  <a:lnTo>
                    <a:pt x="11703" y="381"/>
                  </a:lnTo>
                  <a:lnTo>
                    <a:pt x="11579" y="310"/>
                  </a:lnTo>
                  <a:lnTo>
                    <a:pt x="11443" y="226"/>
                  </a:lnTo>
                  <a:lnTo>
                    <a:pt x="11297" y="169"/>
                  </a:lnTo>
                  <a:lnTo>
                    <a:pt x="11138" y="113"/>
                  </a:lnTo>
                  <a:lnTo>
                    <a:pt x="10969" y="56"/>
                  </a:lnTo>
                  <a:lnTo>
                    <a:pt x="10800" y="28"/>
                  </a:lnTo>
                  <a:lnTo>
                    <a:pt x="10619" y="28"/>
                  </a:lnTo>
                  <a:lnTo>
                    <a:pt x="10404" y="28"/>
                  </a:lnTo>
                  <a:lnTo>
                    <a:pt x="10257" y="28"/>
                  </a:lnTo>
                  <a:lnTo>
                    <a:pt x="10076" y="56"/>
                  </a:lnTo>
                  <a:lnTo>
                    <a:pt x="9952" y="84"/>
                  </a:lnTo>
                  <a:lnTo>
                    <a:pt x="9794" y="141"/>
                  </a:lnTo>
                  <a:lnTo>
                    <a:pt x="9692" y="226"/>
                  </a:lnTo>
                  <a:lnTo>
                    <a:pt x="9557" y="282"/>
                  </a:lnTo>
                  <a:lnTo>
                    <a:pt x="9455" y="381"/>
                  </a:lnTo>
                  <a:lnTo>
                    <a:pt x="9365" y="466"/>
                  </a:lnTo>
                  <a:lnTo>
                    <a:pt x="9274" y="579"/>
                  </a:lnTo>
                  <a:lnTo>
                    <a:pt x="9184" y="692"/>
                  </a:lnTo>
                  <a:lnTo>
                    <a:pt x="9128" y="791"/>
                  </a:lnTo>
                  <a:lnTo>
                    <a:pt x="9060" y="932"/>
                  </a:lnTo>
                  <a:lnTo>
                    <a:pt x="8969" y="1201"/>
                  </a:lnTo>
                  <a:lnTo>
                    <a:pt x="8913" y="1498"/>
                  </a:lnTo>
                  <a:lnTo>
                    <a:pt x="8890" y="1795"/>
                  </a:lnTo>
                  <a:lnTo>
                    <a:pt x="8890" y="2120"/>
                  </a:lnTo>
                  <a:lnTo>
                    <a:pt x="8913" y="2445"/>
                  </a:lnTo>
                  <a:lnTo>
                    <a:pt x="8969" y="2756"/>
                  </a:lnTo>
                  <a:lnTo>
                    <a:pt x="9060" y="3081"/>
                  </a:lnTo>
                  <a:lnTo>
                    <a:pt x="9173" y="3378"/>
                  </a:lnTo>
                  <a:lnTo>
                    <a:pt x="9297" y="3647"/>
                  </a:lnTo>
                  <a:lnTo>
                    <a:pt x="9466" y="3887"/>
                  </a:lnTo>
                  <a:lnTo>
                    <a:pt x="9579" y="4085"/>
                  </a:lnTo>
                  <a:lnTo>
                    <a:pt x="9670" y="4269"/>
                  </a:lnTo>
                  <a:lnTo>
                    <a:pt x="9726" y="4467"/>
                  </a:lnTo>
                  <a:lnTo>
                    <a:pt x="9771" y="4650"/>
                  </a:lnTo>
                  <a:lnTo>
                    <a:pt x="9771" y="4834"/>
                  </a:lnTo>
                  <a:lnTo>
                    <a:pt x="9749" y="5032"/>
                  </a:lnTo>
                  <a:lnTo>
                    <a:pt x="9715" y="5216"/>
                  </a:lnTo>
                  <a:lnTo>
                    <a:pt x="9625" y="5385"/>
                  </a:lnTo>
                  <a:lnTo>
                    <a:pt x="9534" y="5513"/>
                  </a:lnTo>
                  <a:lnTo>
                    <a:pt x="9410" y="5626"/>
                  </a:lnTo>
                  <a:lnTo>
                    <a:pt x="9229" y="5710"/>
                  </a:lnTo>
                  <a:lnTo>
                    <a:pt x="9060" y="5767"/>
                  </a:lnTo>
                  <a:lnTo>
                    <a:pt x="8845" y="5767"/>
                  </a:lnTo>
                  <a:lnTo>
                    <a:pt x="8585" y="5739"/>
                  </a:lnTo>
                  <a:lnTo>
                    <a:pt x="8325" y="5654"/>
                  </a:lnTo>
                  <a:lnTo>
                    <a:pt x="8020" y="5513"/>
                  </a:lnTo>
                  <a:lnTo>
                    <a:pt x="7840" y="5442"/>
                  </a:lnTo>
                  <a:lnTo>
                    <a:pt x="7648" y="5385"/>
                  </a:lnTo>
                  <a:lnTo>
                    <a:pt x="7433" y="5329"/>
                  </a:lnTo>
                  <a:lnTo>
                    <a:pt x="7241" y="5301"/>
                  </a:lnTo>
                  <a:lnTo>
                    <a:pt x="6755" y="5301"/>
                  </a:lnTo>
                  <a:lnTo>
                    <a:pt x="6281" y="5329"/>
                  </a:lnTo>
                  <a:lnTo>
                    <a:pt x="5784" y="5385"/>
                  </a:lnTo>
                  <a:lnTo>
                    <a:pt x="5264" y="5498"/>
                  </a:lnTo>
                  <a:lnTo>
                    <a:pt x="4744" y="5597"/>
                  </a:lnTo>
                  <a:lnTo>
                    <a:pt x="4247" y="5739"/>
                  </a:lnTo>
                  <a:lnTo>
                    <a:pt x="4202" y="5894"/>
                  </a:lnTo>
                  <a:lnTo>
                    <a:pt x="4202" y="6191"/>
                  </a:lnTo>
                  <a:lnTo>
                    <a:pt x="4202" y="6545"/>
                  </a:lnTo>
                  <a:lnTo>
                    <a:pt x="4225" y="6954"/>
                  </a:lnTo>
                  <a:lnTo>
                    <a:pt x="4315" y="7930"/>
                  </a:lnTo>
                  <a:lnTo>
                    <a:pt x="4394" y="9018"/>
                  </a:lnTo>
                  <a:lnTo>
                    <a:pt x="4439" y="9570"/>
                  </a:lnTo>
                  <a:lnTo>
                    <a:pt x="4462" y="10107"/>
                  </a:lnTo>
                  <a:lnTo>
                    <a:pt x="4484" y="10630"/>
                  </a:lnTo>
                  <a:lnTo>
                    <a:pt x="4507" y="11082"/>
                  </a:lnTo>
                  <a:lnTo>
                    <a:pt x="4484" y="11520"/>
                  </a:lnTo>
                  <a:lnTo>
                    <a:pt x="4439" y="11874"/>
                  </a:lnTo>
                  <a:lnTo>
                    <a:pt x="4394" y="12029"/>
                  </a:lnTo>
                  <a:lnTo>
                    <a:pt x="4349" y="12171"/>
                  </a:lnTo>
                  <a:lnTo>
                    <a:pt x="4315" y="12284"/>
                  </a:lnTo>
                  <a:lnTo>
                    <a:pt x="4247" y="12354"/>
                  </a:lnTo>
                  <a:close/>
                </a:path>
              </a:pathLst>
            </a:custGeom>
            <a:solidFill>
              <a:srgbClr val="009999"/>
            </a:solidFill>
            <a:ln w="28575">
              <a:noFill/>
              <a:miter lim="800000"/>
              <a:headEnd/>
              <a:tailEnd/>
            </a:ln>
          </p:spPr>
          <p:txBody>
            <a:bodyPr tIns="0" anchor="ctr" anchorCtr="1"/>
            <a:lstStyle/>
            <a:p>
              <a:endParaRPr lang="en-US" dirty="0"/>
            </a:p>
          </p:txBody>
        </p:sp>
        <p:sp>
          <p:nvSpPr>
            <p:cNvPr id="10253" name="Text Box 11"/>
            <p:cNvSpPr txBox="1">
              <a:spLocks noChangeArrowheads="1"/>
            </p:cNvSpPr>
            <p:nvPr/>
          </p:nvSpPr>
          <p:spPr bwMode="auto">
            <a:xfrm>
              <a:off x="5638800" y="4572000"/>
              <a:ext cx="2514600" cy="907941"/>
            </a:xfrm>
            <a:prstGeom prst="rect">
              <a:avLst/>
            </a:prstGeom>
            <a:noFill/>
            <a:ln w="28575" algn="ctr">
              <a:noFill/>
              <a:miter lim="800000"/>
              <a:headEnd/>
              <a:tailEnd/>
            </a:ln>
          </p:spPr>
          <p:txBody>
            <a:bodyPr tIns="0" anchorCtr="1">
              <a:spAutoFit/>
            </a:bodyPr>
            <a:lstStyle/>
            <a:p>
              <a:pPr algn="ctr"/>
              <a:r>
                <a:rPr lang="en-US" sz="1400" dirty="0">
                  <a:solidFill>
                    <a:srgbClr val="000000"/>
                  </a:solidFill>
                </a:rPr>
                <a:t>4. Evaluate Risk Assessment Results and Prioritize Residual Corruption  Risks</a:t>
              </a:r>
            </a:p>
          </p:txBody>
        </p:sp>
      </p:grpSp>
      <p:grpSp>
        <p:nvGrpSpPr>
          <p:cNvPr id="4" name="Group 11"/>
          <p:cNvGrpSpPr>
            <a:grpSpLocks/>
          </p:cNvGrpSpPr>
          <p:nvPr/>
        </p:nvGrpSpPr>
        <p:grpSpPr bwMode="auto">
          <a:xfrm>
            <a:off x="4114800" y="1371600"/>
            <a:ext cx="2514600" cy="2503488"/>
            <a:chOff x="4114800" y="1371600"/>
            <a:chExt cx="2514600" cy="2503488"/>
          </a:xfrm>
        </p:grpSpPr>
        <p:sp>
          <p:nvSpPr>
            <p:cNvPr id="10250" name="Puzzle4"/>
            <p:cNvSpPr>
              <a:spLocks noEditPoints="1" noChangeArrowheads="1"/>
            </p:cNvSpPr>
            <p:nvPr/>
          </p:nvSpPr>
          <p:spPr bwMode="auto">
            <a:xfrm>
              <a:off x="4114800" y="1371600"/>
              <a:ext cx="2286000" cy="2503488"/>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2076 w 21600"/>
                <a:gd name="T25" fmla="*/ 5664 h 21600"/>
                <a:gd name="T26" fmla="*/ 20203 w 21600"/>
                <a:gd name="T27" fmla="*/ 15980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3813" y="10590"/>
                  </a:moveTo>
                  <a:lnTo>
                    <a:pt x="3927" y="10513"/>
                  </a:lnTo>
                  <a:lnTo>
                    <a:pt x="4078" y="10425"/>
                  </a:lnTo>
                  <a:lnTo>
                    <a:pt x="4210" y="10359"/>
                  </a:lnTo>
                  <a:lnTo>
                    <a:pt x="4361" y="10315"/>
                  </a:lnTo>
                  <a:lnTo>
                    <a:pt x="4682" y="10237"/>
                  </a:lnTo>
                  <a:lnTo>
                    <a:pt x="5041" y="10193"/>
                  </a:lnTo>
                  <a:lnTo>
                    <a:pt x="5456" y="10171"/>
                  </a:lnTo>
                  <a:lnTo>
                    <a:pt x="5853" y="10193"/>
                  </a:lnTo>
                  <a:lnTo>
                    <a:pt x="6249" y="10260"/>
                  </a:lnTo>
                  <a:lnTo>
                    <a:pt x="6646" y="10337"/>
                  </a:lnTo>
                  <a:lnTo>
                    <a:pt x="7004" y="10469"/>
                  </a:lnTo>
                  <a:lnTo>
                    <a:pt x="7363" y="10612"/>
                  </a:lnTo>
                  <a:lnTo>
                    <a:pt x="7665" y="10788"/>
                  </a:lnTo>
                  <a:lnTo>
                    <a:pt x="7911" y="10998"/>
                  </a:lnTo>
                  <a:lnTo>
                    <a:pt x="8024" y="11097"/>
                  </a:lnTo>
                  <a:lnTo>
                    <a:pt x="8137" y="11207"/>
                  </a:lnTo>
                  <a:lnTo>
                    <a:pt x="8194" y="11340"/>
                  </a:lnTo>
                  <a:lnTo>
                    <a:pt x="8269" y="11461"/>
                  </a:lnTo>
                  <a:lnTo>
                    <a:pt x="8307" y="11593"/>
                  </a:lnTo>
                  <a:lnTo>
                    <a:pt x="8307" y="11714"/>
                  </a:lnTo>
                  <a:lnTo>
                    <a:pt x="8307" y="11868"/>
                  </a:lnTo>
                  <a:lnTo>
                    <a:pt x="8307" y="12012"/>
                  </a:lnTo>
                  <a:lnTo>
                    <a:pt x="8194" y="12265"/>
                  </a:lnTo>
                  <a:lnTo>
                    <a:pt x="8062" y="12519"/>
                  </a:lnTo>
                  <a:lnTo>
                    <a:pt x="7873" y="12706"/>
                  </a:lnTo>
                  <a:lnTo>
                    <a:pt x="7627" y="12904"/>
                  </a:lnTo>
                  <a:lnTo>
                    <a:pt x="7363" y="13048"/>
                  </a:lnTo>
                  <a:lnTo>
                    <a:pt x="7080" y="13180"/>
                  </a:lnTo>
                  <a:lnTo>
                    <a:pt x="6759" y="13257"/>
                  </a:lnTo>
                  <a:lnTo>
                    <a:pt x="6419" y="13345"/>
                  </a:lnTo>
                  <a:lnTo>
                    <a:pt x="6098" y="13389"/>
                  </a:lnTo>
                  <a:lnTo>
                    <a:pt x="5739" y="13389"/>
                  </a:lnTo>
                  <a:lnTo>
                    <a:pt x="5418" y="13389"/>
                  </a:lnTo>
                  <a:lnTo>
                    <a:pt x="5079" y="13345"/>
                  </a:lnTo>
                  <a:lnTo>
                    <a:pt x="4758" y="13301"/>
                  </a:lnTo>
                  <a:lnTo>
                    <a:pt x="4474" y="13213"/>
                  </a:lnTo>
                  <a:lnTo>
                    <a:pt x="4172" y="13114"/>
                  </a:lnTo>
                  <a:lnTo>
                    <a:pt x="3965" y="12982"/>
                  </a:lnTo>
                  <a:lnTo>
                    <a:pt x="3738" y="12838"/>
                  </a:lnTo>
                  <a:lnTo>
                    <a:pt x="3493" y="12706"/>
                  </a:lnTo>
                  <a:lnTo>
                    <a:pt x="3228" y="12607"/>
                  </a:lnTo>
                  <a:lnTo>
                    <a:pt x="2945" y="12519"/>
                  </a:lnTo>
                  <a:lnTo>
                    <a:pt x="2700" y="12431"/>
                  </a:lnTo>
                  <a:lnTo>
                    <a:pt x="2397" y="12375"/>
                  </a:lnTo>
                  <a:lnTo>
                    <a:pt x="2152" y="12331"/>
                  </a:lnTo>
                  <a:lnTo>
                    <a:pt x="1888" y="12309"/>
                  </a:lnTo>
                  <a:lnTo>
                    <a:pt x="1642" y="12309"/>
                  </a:lnTo>
                  <a:lnTo>
                    <a:pt x="1397" y="12331"/>
                  </a:lnTo>
                  <a:lnTo>
                    <a:pt x="1170" y="12397"/>
                  </a:lnTo>
                  <a:lnTo>
                    <a:pt x="962" y="12453"/>
                  </a:lnTo>
                  <a:lnTo>
                    <a:pt x="774" y="12563"/>
                  </a:lnTo>
                  <a:lnTo>
                    <a:pt x="623" y="12684"/>
                  </a:lnTo>
                  <a:lnTo>
                    <a:pt x="528" y="12838"/>
                  </a:lnTo>
                  <a:lnTo>
                    <a:pt x="453" y="13026"/>
                  </a:lnTo>
                  <a:lnTo>
                    <a:pt x="339" y="13477"/>
                  </a:lnTo>
                  <a:lnTo>
                    <a:pt x="226" y="13984"/>
                  </a:lnTo>
                  <a:lnTo>
                    <a:pt x="151" y="14535"/>
                  </a:lnTo>
                  <a:lnTo>
                    <a:pt x="113" y="15075"/>
                  </a:lnTo>
                  <a:lnTo>
                    <a:pt x="113" y="15626"/>
                  </a:lnTo>
                  <a:lnTo>
                    <a:pt x="151" y="16133"/>
                  </a:lnTo>
                  <a:lnTo>
                    <a:pt x="188" y="16376"/>
                  </a:lnTo>
                  <a:lnTo>
                    <a:pt x="264" y="16585"/>
                  </a:lnTo>
                  <a:lnTo>
                    <a:pt x="339" y="16773"/>
                  </a:lnTo>
                  <a:lnTo>
                    <a:pt x="453" y="16938"/>
                  </a:lnTo>
                  <a:lnTo>
                    <a:pt x="1095" y="16883"/>
                  </a:lnTo>
                  <a:lnTo>
                    <a:pt x="1963" y="16795"/>
                  </a:lnTo>
                  <a:lnTo>
                    <a:pt x="2945" y="16751"/>
                  </a:lnTo>
                  <a:lnTo>
                    <a:pt x="3965" y="16706"/>
                  </a:lnTo>
                  <a:lnTo>
                    <a:pt x="5022" y="16684"/>
                  </a:lnTo>
                  <a:lnTo>
                    <a:pt x="5947" y="16684"/>
                  </a:lnTo>
                  <a:lnTo>
                    <a:pt x="6759" y="16706"/>
                  </a:lnTo>
                  <a:lnTo>
                    <a:pt x="7363" y="16751"/>
                  </a:lnTo>
                  <a:lnTo>
                    <a:pt x="7948" y="16839"/>
                  </a:lnTo>
                  <a:lnTo>
                    <a:pt x="8458" y="16916"/>
                  </a:lnTo>
                  <a:lnTo>
                    <a:pt x="8893" y="17026"/>
                  </a:lnTo>
                  <a:lnTo>
                    <a:pt x="9289" y="17158"/>
                  </a:lnTo>
                  <a:lnTo>
                    <a:pt x="9572" y="17280"/>
                  </a:lnTo>
                  <a:lnTo>
                    <a:pt x="9799" y="17412"/>
                  </a:lnTo>
                  <a:lnTo>
                    <a:pt x="9969" y="17555"/>
                  </a:lnTo>
                  <a:lnTo>
                    <a:pt x="10120" y="17687"/>
                  </a:lnTo>
                  <a:lnTo>
                    <a:pt x="10158" y="17831"/>
                  </a:lnTo>
                  <a:lnTo>
                    <a:pt x="10195" y="17974"/>
                  </a:lnTo>
                  <a:lnTo>
                    <a:pt x="10158" y="18128"/>
                  </a:lnTo>
                  <a:lnTo>
                    <a:pt x="10082" y="18271"/>
                  </a:lnTo>
                  <a:lnTo>
                    <a:pt x="9969" y="18426"/>
                  </a:lnTo>
                  <a:lnTo>
                    <a:pt x="9837" y="18569"/>
                  </a:lnTo>
                  <a:lnTo>
                    <a:pt x="9648" y="18701"/>
                  </a:lnTo>
                  <a:lnTo>
                    <a:pt x="9440" y="18822"/>
                  </a:lnTo>
                  <a:lnTo>
                    <a:pt x="9213" y="18999"/>
                  </a:lnTo>
                  <a:lnTo>
                    <a:pt x="9044" y="19186"/>
                  </a:lnTo>
                  <a:lnTo>
                    <a:pt x="8893" y="19395"/>
                  </a:lnTo>
                  <a:lnTo>
                    <a:pt x="8817" y="19627"/>
                  </a:lnTo>
                  <a:lnTo>
                    <a:pt x="8779" y="19858"/>
                  </a:lnTo>
                  <a:lnTo>
                    <a:pt x="8779" y="20112"/>
                  </a:lnTo>
                  <a:lnTo>
                    <a:pt x="8855" y="20354"/>
                  </a:lnTo>
                  <a:lnTo>
                    <a:pt x="8968" y="20586"/>
                  </a:lnTo>
                  <a:lnTo>
                    <a:pt x="9138" y="20817"/>
                  </a:lnTo>
                  <a:lnTo>
                    <a:pt x="9365" y="21026"/>
                  </a:lnTo>
                  <a:lnTo>
                    <a:pt x="9610" y="21192"/>
                  </a:lnTo>
                  <a:lnTo>
                    <a:pt x="9950" y="21368"/>
                  </a:lnTo>
                  <a:lnTo>
                    <a:pt x="10120" y="21445"/>
                  </a:lnTo>
                  <a:lnTo>
                    <a:pt x="10346" y="21511"/>
                  </a:lnTo>
                  <a:lnTo>
                    <a:pt x="10516" y="21555"/>
                  </a:lnTo>
                  <a:lnTo>
                    <a:pt x="10743" y="21600"/>
                  </a:lnTo>
                  <a:lnTo>
                    <a:pt x="10988" y="21644"/>
                  </a:lnTo>
                  <a:lnTo>
                    <a:pt x="11215" y="21666"/>
                  </a:lnTo>
                  <a:lnTo>
                    <a:pt x="11498" y="21666"/>
                  </a:lnTo>
                  <a:lnTo>
                    <a:pt x="11762" y="21666"/>
                  </a:lnTo>
                  <a:lnTo>
                    <a:pt x="12253" y="21644"/>
                  </a:lnTo>
                  <a:lnTo>
                    <a:pt x="12763" y="21577"/>
                  </a:lnTo>
                  <a:lnTo>
                    <a:pt x="13197" y="21467"/>
                  </a:lnTo>
                  <a:lnTo>
                    <a:pt x="13556" y="21346"/>
                  </a:lnTo>
                  <a:lnTo>
                    <a:pt x="13896" y="21192"/>
                  </a:lnTo>
                  <a:lnTo>
                    <a:pt x="14179" y="21026"/>
                  </a:lnTo>
                  <a:lnTo>
                    <a:pt x="14444" y="20839"/>
                  </a:lnTo>
                  <a:lnTo>
                    <a:pt x="14576" y="20641"/>
                  </a:lnTo>
                  <a:lnTo>
                    <a:pt x="14727" y="20431"/>
                  </a:lnTo>
                  <a:lnTo>
                    <a:pt x="14765" y="20200"/>
                  </a:lnTo>
                  <a:lnTo>
                    <a:pt x="14802" y="19991"/>
                  </a:lnTo>
                  <a:lnTo>
                    <a:pt x="14727" y="19759"/>
                  </a:lnTo>
                  <a:lnTo>
                    <a:pt x="14613" y="19550"/>
                  </a:lnTo>
                  <a:lnTo>
                    <a:pt x="14444" y="19307"/>
                  </a:lnTo>
                  <a:lnTo>
                    <a:pt x="14217" y="19098"/>
                  </a:lnTo>
                  <a:lnTo>
                    <a:pt x="13934" y="18911"/>
                  </a:lnTo>
                  <a:lnTo>
                    <a:pt x="13669" y="18745"/>
                  </a:lnTo>
                  <a:lnTo>
                    <a:pt x="13462" y="18547"/>
                  </a:lnTo>
                  <a:lnTo>
                    <a:pt x="13311" y="18337"/>
                  </a:lnTo>
                  <a:lnTo>
                    <a:pt x="13197" y="18150"/>
                  </a:lnTo>
                  <a:lnTo>
                    <a:pt x="13122" y="17941"/>
                  </a:lnTo>
                  <a:lnTo>
                    <a:pt x="13122" y="17720"/>
                  </a:lnTo>
                  <a:lnTo>
                    <a:pt x="13122" y="17533"/>
                  </a:lnTo>
                  <a:lnTo>
                    <a:pt x="13197" y="17346"/>
                  </a:lnTo>
                  <a:lnTo>
                    <a:pt x="13273" y="17158"/>
                  </a:lnTo>
                  <a:lnTo>
                    <a:pt x="13386" y="16982"/>
                  </a:lnTo>
                  <a:lnTo>
                    <a:pt x="13537" y="16839"/>
                  </a:lnTo>
                  <a:lnTo>
                    <a:pt x="13707" y="16706"/>
                  </a:lnTo>
                  <a:lnTo>
                    <a:pt x="13896" y="16607"/>
                  </a:lnTo>
                  <a:lnTo>
                    <a:pt x="14104" y="16519"/>
                  </a:lnTo>
                  <a:lnTo>
                    <a:pt x="14330" y="16453"/>
                  </a:lnTo>
                  <a:lnTo>
                    <a:pt x="14538" y="16431"/>
                  </a:lnTo>
                  <a:lnTo>
                    <a:pt x="14897" y="16453"/>
                  </a:lnTo>
                  <a:lnTo>
                    <a:pt x="15406" y="16497"/>
                  </a:lnTo>
                  <a:lnTo>
                    <a:pt x="16105" y="16541"/>
                  </a:lnTo>
                  <a:lnTo>
                    <a:pt x="16898" y="16607"/>
                  </a:lnTo>
                  <a:lnTo>
                    <a:pt x="17804" y="16651"/>
                  </a:lnTo>
                  <a:lnTo>
                    <a:pt x="18786" y="16684"/>
                  </a:lnTo>
                  <a:lnTo>
                    <a:pt x="19844" y="16728"/>
                  </a:lnTo>
                  <a:lnTo>
                    <a:pt x="20920" y="16751"/>
                  </a:lnTo>
                  <a:lnTo>
                    <a:pt x="21109" y="16497"/>
                  </a:lnTo>
                  <a:lnTo>
                    <a:pt x="21241" y="16222"/>
                  </a:lnTo>
                  <a:lnTo>
                    <a:pt x="21392" y="15946"/>
                  </a:lnTo>
                  <a:lnTo>
                    <a:pt x="21467" y="15648"/>
                  </a:lnTo>
                  <a:lnTo>
                    <a:pt x="21543" y="15351"/>
                  </a:lnTo>
                  <a:lnTo>
                    <a:pt x="21618" y="15042"/>
                  </a:lnTo>
                  <a:lnTo>
                    <a:pt x="21618" y="14745"/>
                  </a:lnTo>
                  <a:lnTo>
                    <a:pt x="21618" y="14447"/>
                  </a:lnTo>
                  <a:lnTo>
                    <a:pt x="21618" y="14150"/>
                  </a:lnTo>
                  <a:lnTo>
                    <a:pt x="21581" y="13852"/>
                  </a:lnTo>
                  <a:lnTo>
                    <a:pt x="21505" y="13577"/>
                  </a:lnTo>
                  <a:lnTo>
                    <a:pt x="21430" y="13301"/>
                  </a:lnTo>
                  <a:lnTo>
                    <a:pt x="21354" y="13048"/>
                  </a:lnTo>
                  <a:lnTo>
                    <a:pt x="21241" y="12816"/>
                  </a:lnTo>
                  <a:lnTo>
                    <a:pt x="21146" y="12607"/>
                  </a:lnTo>
                  <a:lnTo>
                    <a:pt x="21033" y="12431"/>
                  </a:lnTo>
                  <a:lnTo>
                    <a:pt x="20920" y="12265"/>
                  </a:lnTo>
                  <a:lnTo>
                    <a:pt x="20769" y="12144"/>
                  </a:lnTo>
                  <a:lnTo>
                    <a:pt x="20637" y="12034"/>
                  </a:lnTo>
                  <a:lnTo>
                    <a:pt x="20486" y="11946"/>
                  </a:lnTo>
                  <a:lnTo>
                    <a:pt x="20297" y="11891"/>
                  </a:lnTo>
                  <a:lnTo>
                    <a:pt x="20165" y="11846"/>
                  </a:lnTo>
                  <a:lnTo>
                    <a:pt x="19976" y="11824"/>
                  </a:lnTo>
                  <a:lnTo>
                    <a:pt x="19806" y="11802"/>
                  </a:lnTo>
                  <a:lnTo>
                    <a:pt x="19390" y="11824"/>
                  </a:lnTo>
                  <a:lnTo>
                    <a:pt x="18956" y="11891"/>
                  </a:lnTo>
                  <a:lnTo>
                    <a:pt x="18503" y="11968"/>
                  </a:lnTo>
                  <a:lnTo>
                    <a:pt x="17993" y="12078"/>
                  </a:lnTo>
                  <a:lnTo>
                    <a:pt x="17653" y="12144"/>
                  </a:lnTo>
                  <a:lnTo>
                    <a:pt x="17332" y="12199"/>
                  </a:lnTo>
                  <a:lnTo>
                    <a:pt x="17049" y="12221"/>
                  </a:lnTo>
                  <a:lnTo>
                    <a:pt x="16747" y="12243"/>
                  </a:lnTo>
                  <a:lnTo>
                    <a:pt x="16464" y="12243"/>
                  </a:lnTo>
                  <a:lnTo>
                    <a:pt x="16218" y="12243"/>
                  </a:lnTo>
                  <a:lnTo>
                    <a:pt x="15992" y="12221"/>
                  </a:lnTo>
                  <a:lnTo>
                    <a:pt x="15746" y="12199"/>
                  </a:lnTo>
                  <a:lnTo>
                    <a:pt x="15520" y="12155"/>
                  </a:lnTo>
                  <a:lnTo>
                    <a:pt x="15350" y="12122"/>
                  </a:lnTo>
                  <a:lnTo>
                    <a:pt x="15161" y="12056"/>
                  </a:lnTo>
                  <a:lnTo>
                    <a:pt x="14972" y="11990"/>
                  </a:lnTo>
                  <a:lnTo>
                    <a:pt x="14689" y="11846"/>
                  </a:lnTo>
                  <a:lnTo>
                    <a:pt x="14444" y="11670"/>
                  </a:lnTo>
                  <a:lnTo>
                    <a:pt x="14255" y="11483"/>
                  </a:lnTo>
                  <a:lnTo>
                    <a:pt x="14104" y="11295"/>
                  </a:lnTo>
                  <a:lnTo>
                    <a:pt x="14028" y="11086"/>
                  </a:lnTo>
                  <a:lnTo>
                    <a:pt x="13972" y="10888"/>
                  </a:lnTo>
                  <a:lnTo>
                    <a:pt x="13972" y="10700"/>
                  </a:lnTo>
                  <a:lnTo>
                    <a:pt x="14009" y="10513"/>
                  </a:lnTo>
                  <a:lnTo>
                    <a:pt x="14066" y="10359"/>
                  </a:lnTo>
                  <a:lnTo>
                    <a:pt x="14179" y="10215"/>
                  </a:lnTo>
                  <a:lnTo>
                    <a:pt x="14406" y="10006"/>
                  </a:lnTo>
                  <a:lnTo>
                    <a:pt x="14651" y="9830"/>
                  </a:lnTo>
                  <a:lnTo>
                    <a:pt x="14878" y="9686"/>
                  </a:lnTo>
                  <a:lnTo>
                    <a:pt x="15123" y="9554"/>
                  </a:lnTo>
                  <a:lnTo>
                    <a:pt x="15350" y="9477"/>
                  </a:lnTo>
                  <a:lnTo>
                    <a:pt x="15558" y="9411"/>
                  </a:lnTo>
                  <a:lnTo>
                    <a:pt x="15803" y="9345"/>
                  </a:lnTo>
                  <a:lnTo>
                    <a:pt x="16030" y="9323"/>
                  </a:lnTo>
                  <a:lnTo>
                    <a:pt x="16256" y="9301"/>
                  </a:lnTo>
                  <a:lnTo>
                    <a:pt x="16464" y="9323"/>
                  </a:lnTo>
                  <a:lnTo>
                    <a:pt x="16690" y="9345"/>
                  </a:lnTo>
                  <a:lnTo>
                    <a:pt x="16898" y="9367"/>
                  </a:lnTo>
                  <a:lnTo>
                    <a:pt x="17332" y="9477"/>
                  </a:lnTo>
                  <a:lnTo>
                    <a:pt x="17767" y="9598"/>
                  </a:lnTo>
                  <a:lnTo>
                    <a:pt x="18163" y="9731"/>
                  </a:lnTo>
                  <a:lnTo>
                    <a:pt x="18597" y="9874"/>
                  </a:lnTo>
                  <a:lnTo>
                    <a:pt x="18994" y="10006"/>
                  </a:lnTo>
                  <a:lnTo>
                    <a:pt x="19428" y="10083"/>
                  </a:lnTo>
                  <a:lnTo>
                    <a:pt x="19617" y="10127"/>
                  </a:lnTo>
                  <a:lnTo>
                    <a:pt x="19844" y="10149"/>
                  </a:lnTo>
                  <a:lnTo>
                    <a:pt x="20013" y="10149"/>
                  </a:lnTo>
                  <a:lnTo>
                    <a:pt x="20240" y="10127"/>
                  </a:lnTo>
                  <a:lnTo>
                    <a:pt x="20410" y="10105"/>
                  </a:lnTo>
                  <a:lnTo>
                    <a:pt x="20637" y="10061"/>
                  </a:lnTo>
                  <a:lnTo>
                    <a:pt x="20844" y="9984"/>
                  </a:lnTo>
                  <a:lnTo>
                    <a:pt x="21033" y="9896"/>
                  </a:lnTo>
                  <a:lnTo>
                    <a:pt x="21146" y="9830"/>
                  </a:lnTo>
                  <a:lnTo>
                    <a:pt x="21203" y="9753"/>
                  </a:lnTo>
                  <a:lnTo>
                    <a:pt x="21279" y="9642"/>
                  </a:lnTo>
                  <a:lnTo>
                    <a:pt x="21354" y="9521"/>
                  </a:lnTo>
                  <a:lnTo>
                    <a:pt x="21430" y="9246"/>
                  </a:lnTo>
                  <a:lnTo>
                    <a:pt x="21430" y="8904"/>
                  </a:lnTo>
                  <a:lnTo>
                    <a:pt x="21430" y="8540"/>
                  </a:lnTo>
                  <a:lnTo>
                    <a:pt x="21392" y="8144"/>
                  </a:lnTo>
                  <a:lnTo>
                    <a:pt x="21354" y="7714"/>
                  </a:lnTo>
                  <a:lnTo>
                    <a:pt x="21279" y="7295"/>
                  </a:lnTo>
                  <a:lnTo>
                    <a:pt x="21146" y="6446"/>
                  </a:lnTo>
                  <a:lnTo>
                    <a:pt x="20995" y="5686"/>
                  </a:lnTo>
                  <a:lnTo>
                    <a:pt x="20958" y="5366"/>
                  </a:lnTo>
                  <a:lnTo>
                    <a:pt x="20958" y="5091"/>
                  </a:lnTo>
                  <a:lnTo>
                    <a:pt x="20958" y="4860"/>
                  </a:lnTo>
                  <a:lnTo>
                    <a:pt x="21033" y="4716"/>
                  </a:lnTo>
                  <a:lnTo>
                    <a:pt x="20637" y="4860"/>
                  </a:lnTo>
                  <a:lnTo>
                    <a:pt x="20127" y="4992"/>
                  </a:lnTo>
                  <a:lnTo>
                    <a:pt x="19617" y="5069"/>
                  </a:lnTo>
                  <a:lnTo>
                    <a:pt x="19032" y="5157"/>
                  </a:lnTo>
                  <a:lnTo>
                    <a:pt x="18465" y="5201"/>
                  </a:lnTo>
                  <a:lnTo>
                    <a:pt x="17842" y="5245"/>
                  </a:lnTo>
                  <a:lnTo>
                    <a:pt x="17219" y="5267"/>
                  </a:lnTo>
                  <a:lnTo>
                    <a:pt x="16615" y="5267"/>
                  </a:lnTo>
                  <a:lnTo>
                    <a:pt x="15992" y="5245"/>
                  </a:lnTo>
                  <a:lnTo>
                    <a:pt x="15369" y="5201"/>
                  </a:lnTo>
                  <a:lnTo>
                    <a:pt x="14840" y="5157"/>
                  </a:lnTo>
                  <a:lnTo>
                    <a:pt x="14293" y="5091"/>
                  </a:lnTo>
                  <a:lnTo>
                    <a:pt x="13783" y="5014"/>
                  </a:lnTo>
                  <a:lnTo>
                    <a:pt x="13386" y="4926"/>
                  </a:lnTo>
                  <a:lnTo>
                    <a:pt x="13027" y="4815"/>
                  </a:lnTo>
                  <a:lnTo>
                    <a:pt x="12725" y="4716"/>
                  </a:lnTo>
                  <a:lnTo>
                    <a:pt x="12480" y="4606"/>
                  </a:lnTo>
                  <a:lnTo>
                    <a:pt x="12291" y="4496"/>
                  </a:lnTo>
                  <a:lnTo>
                    <a:pt x="12197" y="4397"/>
                  </a:lnTo>
                  <a:lnTo>
                    <a:pt x="12083" y="4286"/>
                  </a:lnTo>
                  <a:lnTo>
                    <a:pt x="12046" y="4187"/>
                  </a:lnTo>
                  <a:lnTo>
                    <a:pt x="12008" y="4077"/>
                  </a:lnTo>
                  <a:lnTo>
                    <a:pt x="12046" y="3967"/>
                  </a:lnTo>
                  <a:lnTo>
                    <a:pt x="12121" y="3868"/>
                  </a:lnTo>
                  <a:lnTo>
                    <a:pt x="12197" y="3735"/>
                  </a:lnTo>
                  <a:lnTo>
                    <a:pt x="12291" y="3614"/>
                  </a:lnTo>
                  <a:lnTo>
                    <a:pt x="12442" y="3482"/>
                  </a:lnTo>
                  <a:lnTo>
                    <a:pt x="12631" y="3361"/>
                  </a:lnTo>
                  <a:lnTo>
                    <a:pt x="13065" y="3085"/>
                  </a:lnTo>
                  <a:lnTo>
                    <a:pt x="13537" y="2766"/>
                  </a:lnTo>
                  <a:lnTo>
                    <a:pt x="13783" y="2578"/>
                  </a:lnTo>
                  <a:lnTo>
                    <a:pt x="13934" y="2380"/>
                  </a:lnTo>
                  <a:lnTo>
                    <a:pt x="14028" y="2171"/>
                  </a:lnTo>
                  <a:lnTo>
                    <a:pt x="14104" y="1961"/>
                  </a:lnTo>
                  <a:lnTo>
                    <a:pt x="14104" y="1730"/>
                  </a:lnTo>
                  <a:lnTo>
                    <a:pt x="14066" y="1498"/>
                  </a:lnTo>
                  <a:lnTo>
                    <a:pt x="13972" y="1267"/>
                  </a:lnTo>
                  <a:lnTo>
                    <a:pt x="13820" y="1057"/>
                  </a:lnTo>
                  <a:lnTo>
                    <a:pt x="13594" y="837"/>
                  </a:lnTo>
                  <a:lnTo>
                    <a:pt x="13386" y="628"/>
                  </a:lnTo>
                  <a:lnTo>
                    <a:pt x="13103" y="462"/>
                  </a:lnTo>
                  <a:lnTo>
                    <a:pt x="12763" y="308"/>
                  </a:lnTo>
                  <a:lnTo>
                    <a:pt x="12404" y="187"/>
                  </a:lnTo>
                  <a:lnTo>
                    <a:pt x="12008" y="77"/>
                  </a:lnTo>
                  <a:lnTo>
                    <a:pt x="11574" y="33"/>
                  </a:lnTo>
                  <a:lnTo>
                    <a:pt x="11102" y="11"/>
                  </a:lnTo>
                  <a:lnTo>
                    <a:pt x="10667" y="11"/>
                  </a:lnTo>
                  <a:lnTo>
                    <a:pt x="10233" y="77"/>
                  </a:lnTo>
                  <a:lnTo>
                    <a:pt x="9837" y="187"/>
                  </a:lnTo>
                  <a:lnTo>
                    <a:pt x="9440" y="286"/>
                  </a:lnTo>
                  <a:lnTo>
                    <a:pt x="9062" y="462"/>
                  </a:lnTo>
                  <a:lnTo>
                    <a:pt x="8741" y="628"/>
                  </a:lnTo>
                  <a:lnTo>
                    <a:pt x="8458" y="815"/>
                  </a:lnTo>
                  <a:lnTo>
                    <a:pt x="8232" y="1035"/>
                  </a:lnTo>
                  <a:lnTo>
                    <a:pt x="8062" y="1245"/>
                  </a:lnTo>
                  <a:lnTo>
                    <a:pt x="7911" y="1476"/>
                  </a:lnTo>
                  <a:lnTo>
                    <a:pt x="7835" y="1708"/>
                  </a:lnTo>
                  <a:lnTo>
                    <a:pt x="7797" y="1961"/>
                  </a:lnTo>
                  <a:lnTo>
                    <a:pt x="7835" y="2193"/>
                  </a:lnTo>
                  <a:lnTo>
                    <a:pt x="7948" y="2402"/>
                  </a:lnTo>
                  <a:lnTo>
                    <a:pt x="8062" y="2534"/>
                  </a:lnTo>
                  <a:lnTo>
                    <a:pt x="8175" y="2644"/>
                  </a:lnTo>
                  <a:lnTo>
                    <a:pt x="8269" y="2744"/>
                  </a:lnTo>
                  <a:lnTo>
                    <a:pt x="8420" y="2832"/>
                  </a:lnTo>
                  <a:lnTo>
                    <a:pt x="8704" y="3019"/>
                  </a:lnTo>
                  <a:lnTo>
                    <a:pt x="8968" y="3206"/>
                  </a:lnTo>
                  <a:lnTo>
                    <a:pt x="9138" y="3405"/>
                  </a:lnTo>
                  <a:lnTo>
                    <a:pt x="9327" y="3570"/>
                  </a:lnTo>
                  <a:lnTo>
                    <a:pt x="9440" y="3735"/>
                  </a:lnTo>
                  <a:lnTo>
                    <a:pt x="9516" y="3890"/>
                  </a:lnTo>
                  <a:lnTo>
                    <a:pt x="9534" y="4033"/>
                  </a:lnTo>
                  <a:lnTo>
                    <a:pt x="9534" y="4165"/>
                  </a:lnTo>
                  <a:lnTo>
                    <a:pt x="9516" y="4286"/>
                  </a:lnTo>
                  <a:lnTo>
                    <a:pt x="9440" y="4397"/>
                  </a:lnTo>
                  <a:lnTo>
                    <a:pt x="9327" y="4496"/>
                  </a:lnTo>
                  <a:lnTo>
                    <a:pt x="9176" y="4562"/>
                  </a:lnTo>
                  <a:lnTo>
                    <a:pt x="9006" y="4628"/>
                  </a:lnTo>
                  <a:lnTo>
                    <a:pt x="8779" y="4694"/>
                  </a:lnTo>
                  <a:lnTo>
                    <a:pt x="8534" y="4716"/>
                  </a:lnTo>
                  <a:lnTo>
                    <a:pt x="8232" y="4716"/>
                  </a:lnTo>
                  <a:lnTo>
                    <a:pt x="7118" y="4738"/>
                  </a:lnTo>
                  <a:lnTo>
                    <a:pt x="5947" y="4771"/>
                  </a:lnTo>
                  <a:lnTo>
                    <a:pt x="4795" y="4815"/>
                  </a:lnTo>
                  <a:lnTo>
                    <a:pt x="3681" y="4860"/>
                  </a:lnTo>
                  <a:lnTo>
                    <a:pt x="2662" y="4882"/>
                  </a:lnTo>
                  <a:lnTo>
                    <a:pt x="1755" y="4882"/>
                  </a:lnTo>
                  <a:lnTo>
                    <a:pt x="1359" y="4860"/>
                  </a:lnTo>
                  <a:lnTo>
                    <a:pt x="981" y="4837"/>
                  </a:lnTo>
                  <a:lnTo>
                    <a:pt x="698" y="4771"/>
                  </a:lnTo>
                  <a:lnTo>
                    <a:pt x="453" y="4716"/>
                  </a:lnTo>
                  <a:lnTo>
                    <a:pt x="453" y="5322"/>
                  </a:lnTo>
                  <a:lnTo>
                    <a:pt x="453" y="6083"/>
                  </a:lnTo>
                  <a:lnTo>
                    <a:pt x="453" y="6909"/>
                  </a:lnTo>
                  <a:lnTo>
                    <a:pt x="453" y="7780"/>
                  </a:lnTo>
                  <a:lnTo>
                    <a:pt x="453" y="8606"/>
                  </a:lnTo>
                  <a:lnTo>
                    <a:pt x="453" y="9345"/>
                  </a:lnTo>
                  <a:lnTo>
                    <a:pt x="453" y="9918"/>
                  </a:lnTo>
                  <a:lnTo>
                    <a:pt x="453" y="10282"/>
                  </a:lnTo>
                  <a:lnTo>
                    <a:pt x="490" y="10381"/>
                  </a:lnTo>
                  <a:lnTo>
                    <a:pt x="547" y="10491"/>
                  </a:lnTo>
                  <a:lnTo>
                    <a:pt x="660" y="10590"/>
                  </a:lnTo>
                  <a:lnTo>
                    <a:pt x="811" y="10700"/>
                  </a:lnTo>
                  <a:lnTo>
                    <a:pt x="981" y="10811"/>
                  </a:lnTo>
                  <a:lnTo>
                    <a:pt x="1208" y="10888"/>
                  </a:lnTo>
                  <a:lnTo>
                    <a:pt x="1453" y="10954"/>
                  </a:lnTo>
                  <a:lnTo>
                    <a:pt x="1718" y="11020"/>
                  </a:lnTo>
                  <a:lnTo>
                    <a:pt x="1963" y="11064"/>
                  </a:lnTo>
                  <a:lnTo>
                    <a:pt x="2265" y="11086"/>
                  </a:lnTo>
                  <a:lnTo>
                    <a:pt x="2548" y="11064"/>
                  </a:lnTo>
                  <a:lnTo>
                    <a:pt x="2794" y="11042"/>
                  </a:lnTo>
                  <a:lnTo>
                    <a:pt x="3096" y="10976"/>
                  </a:lnTo>
                  <a:lnTo>
                    <a:pt x="3341" y="10888"/>
                  </a:lnTo>
                  <a:lnTo>
                    <a:pt x="3606" y="10766"/>
                  </a:lnTo>
                  <a:lnTo>
                    <a:pt x="3813" y="10590"/>
                  </a:lnTo>
                  <a:close/>
                </a:path>
              </a:pathLst>
            </a:custGeom>
            <a:solidFill>
              <a:srgbClr val="FF9900"/>
            </a:solidFill>
            <a:ln w="28575">
              <a:noFill/>
              <a:miter lim="800000"/>
              <a:headEnd/>
              <a:tailEnd/>
            </a:ln>
          </p:spPr>
          <p:txBody>
            <a:bodyPr anchor="ctr" anchorCtr="1"/>
            <a:lstStyle/>
            <a:p>
              <a:endParaRPr lang="en-US" dirty="0"/>
            </a:p>
          </p:txBody>
        </p:sp>
        <p:sp>
          <p:nvSpPr>
            <p:cNvPr id="10251" name="Text Box 14"/>
            <p:cNvSpPr txBox="1">
              <a:spLocks noChangeArrowheads="1"/>
            </p:cNvSpPr>
            <p:nvPr/>
          </p:nvSpPr>
          <p:spPr bwMode="auto">
            <a:xfrm>
              <a:off x="4114800" y="2133600"/>
              <a:ext cx="2514600" cy="477054"/>
            </a:xfrm>
            <a:prstGeom prst="rect">
              <a:avLst/>
            </a:prstGeom>
            <a:noFill/>
            <a:ln w="28575" algn="ctr">
              <a:noFill/>
              <a:miter lim="800000"/>
              <a:headEnd/>
              <a:tailEnd/>
            </a:ln>
          </p:spPr>
          <p:txBody>
            <a:bodyPr tIns="0" anchorCtr="1">
              <a:spAutoFit/>
            </a:bodyPr>
            <a:lstStyle/>
            <a:p>
              <a:r>
                <a:rPr lang="en-US" sz="1400" dirty="0">
                  <a:solidFill>
                    <a:srgbClr val="000000"/>
                  </a:solidFill>
                </a:rPr>
                <a:t>2. Identify Possible  Schemes and Scenarios</a:t>
              </a:r>
            </a:p>
          </p:txBody>
        </p:sp>
      </p:grpSp>
    </p:spTree>
    <p:extLst>
      <p:ext uri="{BB962C8B-B14F-4D97-AF65-F5344CB8AC3E}">
        <p14:creationId xmlns:p14="http://schemas.microsoft.com/office/powerpoint/2010/main" val="34318999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9" presetClass="entr" presetSubtype="0" accel="100000" fill="hold" nodeType="clickEffect">
                                  <p:stCondLst>
                                    <p:cond delay="0"/>
                                  </p:stCondLst>
                                  <p:childTnLst>
                                    <p:set>
                                      <p:cBhvr>
                                        <p:cTn id="6" dur="1" fill="hold">
                                          <p:stCondLst>
                                            <p:cond delay="0"/>
                                          </p:stCondLst>
                                        </p:cTn>
                                        <p:tgtEl>
                                          <p:spTgt spid="408580"/>
                                        </p:tgtEl>
                                        <p:attrNameLst>
                                          <p:attrName>style.visibility</p:attrName>
                                        </p:attrNameLst>
                                      </p:cBhvr>
                                      <p:to>
                                        <p:strVal val="visible"/>
                                      </p:to>
                                    </p:set>
                                    <p:anim calcmode="lin" valueType="num">
                                      <p:cBhvr>
                                        <p:cTn id="7" dur="500" fill="hold"/>
                                        <p:tgtEl>
                                          <p:spTgt spid="408580"/>
                                        </p:tgtEl>
                                        <p:attrNameLst>
                                          <p:attrName>ppt_h</p:attrName>
                                        </p:attrNameLst>
                                      </p:cBhvr>
                                      <p:tavLst>
                                        <p:tav tm="0">
                                          <p:val>
                                            <p:strVal val="#ppt_h/20"/>
                                          </p:val>
                                        </p:tav>
                                        <p:tav tm="50000">
                                          <p:val>
                                            <p:strVal val="#ppt_h/20"/>
                                          </p:val>
                                        </p:tav>
                                        <p:tav tm="100000">
                                          <p:val>
                                            <p:strVal val="#ppt_h"/>
                                          </p:val>
                                        </p:tav>
                                      </p:tavLst>
                                    </p:anim>
                                    <p:anim calcmode="lin" valueType="num">
                                      <p:cBhvr>
                                        <p:cTn id="8" dur="500" fill="hold"/>
                                        <p:tgtEl>
                                          <p:spTgt spid="408580"/>
                                        </p:tgtEl>
                                        <p:attrNameLst>
                                          <p:attrName>ppt_w</p:attrName>
                                        </p:attrNameLst>
                                      </p:cBhvr>
                                      <p:tavLst>
                                        <p:tav tm="0">
                                          <p:val>
                                            <p:strVal val="#ppt_w+.3"/>
                                          </p:val>
                                        </p:tav>
                                        <p:tav tm="50000">
                                          <p:val>
                                            <p:strVal val="#ppt_w+.3"/>
                                          </p:val>
                                        </p:tav>
                                        <p:tav tm="100000">
                                          <p:val>
                                            <p:strVal val="#ppt_w"/>
                                          </p:val>
                                        </p:tav>
                                      </p:tavLst>
                                    </p:anim>
                                    <p:anim calcmode="lin" valueType="num">
                                      <p:cBhvr>
                                        <p:cTn id="9" dur="500" fill="hold"/>
                                        <p:tgtEl>
                                          <p:spTgt spid="408580"/>
                                        </p:tgtEl>
                                        <p:attrNameLst>
                                          <p:attrName>ppt_x</p:attrName>
                                        </p:attrNameLst>
                                      </p:cBhvr>
                                      <p:tavLst>
                                        <p:tav tm="0">
                                          <p:val>
                                            <p:strVal val="#ppt_x-.3"/>
                                          </p:val>
                                        </p:tav>
                                        <p:tav tm="50000">
                                          <p:val>
                                            <p:strVal val="#ppt_x"/>
                                          </p:val>
                                        </p:tav>
                                        <p:tav tm="100000">
                                          <p:val>
                                            <p:strVal val="#ppt_x"/>
                                          </p:val>
                                        </p:tav>
                                      </p:tavLst>
                                    </p:anim>
                                    <p:anim calcmode="lin" valueType="num">
                                      <p:cBhvr>
                                        <p:cTn id="10" dur="500" fill="hold"/>
                                        <p:tgtEl>
                                          <p:spTgt spid="408580"/>
                                        </p:tgtEl>
                                        <p:attrNameLst>
                                          <p:attrName>ppt_y</p:attrName>
                                        </p:attrNameLst>
                                      </p:cBhvr>
                                      <p:tavLst>
                                        <p:tav tm="0">
                                          <p:val>
                                            <p:strVal val="#ppt_y"/>
                                          </p:val>
                                        </p:tav>
                                        <p:tav tm="100000">
                                          <p:val>
                                            <p:strVal val="#ppt_y"/>
                                          </p:val>
                                        </p:tav>
                                      </p:tavLst>
                                    </p:anim>
                                  </p:childTnLst>
                                </p:cTn>
                              </p:par>
                            </p:childTnLst>
                          </p:cTn>
                        </p:par>
                      </p:childTnLst>
                    </p:cTn>
                  </p:par>
                  <p:par>
                    <p:cTn id="11" fill="hold">
                      <p:stCondLst>
                        <p:cond delay="indefinite"/>
                      </p:stCondLst>
                      <p:childTnLst>
                        <p:par>
                          <p:cTn id="12" fill="hold">
                            <p:stCondLst>
                              <p:cond delay="0"/>
                            </p:stCondLst>
                            <p:childTnLst>
                              <p:par>
                                <p:cTn id="13" presetID="52" presetClass="entr" presetSubtype="0" fill="hold" grpId="0" nodeType="clickEffect">
                                  <p:stCondLst>
                                    <p:cond delay="0"/>
                                  </p:stCondLst>
                                  <p:childTnLst>
                                    <p:set>
                                      <p:cBhvr>
                                        <p:cTn id="14" dur="1" fill="hold">
                                          <p:stCondLst>
                                            <p:cond delay="0"/>
                                          </p:stCondLst>
                                        </p:cTn>
                                        <p:tgtEl>
                                          <p:spTgt spid="10245"/>
                                        </p:tgtEl>
                                        <p:attrNameLst>
                                          <p:attrName>style.visibility</p:attrName>
                                        </p:attrNameLst>
                                      </p:cBhvr>
                                      <p:to>
                                        <p:strVal val="visible"/>
                                      </p:to>
                                    </p:set>
                                    <p:animScale>
                                      <p:cBhvr>
                                        <p:cTn id="15" dur="1000" decel="50000" fill="hold">
                                          <p:stCondLst>
                                            <p:cond delay="0"/>
                                          </p:stCondLst>
                                        </p:cTn>
                                        <p:tgtEl>
                                          <p:spTgt spid="10245"/>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16" dur="1000" decel="50000" fill="hold">
                                          <p:stCondLst>
                                            <p:cond delay="0"/>
                                          </p:stCondLst>
                                        </p:cTn>
                                        <p:tgtEl>
                                          <p:spTgt spid="10245"/>
                                        </p:tgtEl>
                                        <p:attrNameLst>
                                          <p:attrName>ppt_x</p:attrName>
                                          <p:attrName>ppt_y</p:attrName>
                                        </p:attrNameLst>
                                      </p:cBhvr>
                                    </p:animMotion>
                                    <p:animEffect transition="in" filter="fade">
                                      <p:cBhvr>
                                        <p:cTn id="17" dur="1000"/>
                                        <p:tgtEl>
                                          <p:spTgt spid="10245"/>
                                        </p:tgtEl>
                                      </p:cBhvr>
                                    </p:animEffect>
                                  </p:childTnLst>
                                </p:cTn>
                              </p:par>
                            </p:childTnLst>
                          </p:cTn>
                        </p:par>
                      </p:childTnLst>
                    </p:cTn>
                  </p:par>
                  <p:par>
                    <p:cTn id="18" fill="hold">
                      <p:stCondLst>
                        <p:cond delay="indefinite"/>
                      </p:stCondLst>
                      <p:childTnLst>
                        <p:par>
                          <p:cTn id="19" fill="hold">
                            <p:stCondLst>
                              <p:cond delay="0"/>
                            </p:stCondLst>
                            <p:childTnLst>
                              <p:par>
                                <p:cTn id="20" presetID="52" presetClass="entr" presetSubtype="0" fill="hold" nodeType="clickEffect">
                                  <p:stCondLst>
                                    <p:cond delay="0"/>
                                  </p:stCondLst>
                                  <p:childTnLst>
                                    <p:set>
                                      <p:cBhvr>
                                        <p:cTn id="21" dur="1" fill="hold">
                                          <p:stCondLst>
                                            <p:cond delay="0"/>
                                          </p:stCondLst>
                                        </p:cTn>
                                        <p:tgtEl>
                                          <p:spTgt spid="4"/>
                                        </p:tgtEl>
                                        <p:attrNameLst>
                                          <p:attrName>style.visibility</p:attrName>
                                        </p:attrNameLst>
                                      </p:cBhvr>
                                      <p:to>
                                        <p:strVal val="visible"/>
                                      </p:to>
                                    </p:set>
                                    <p:animScale>
                                      <p:cBhvr>
                                        <p:cTn id="22" dur="1000" decel="50000" fill="hold">
                                          <p:stCondLst>
                                            <p:cond delay="0"/>
                                          </p:stCondLst>
                                        </p:cTn>
                                        <p:tgtEl>
                                          <p:spTgt spid="4"/>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23" dur="1000" decel="50000" fill="hold">
                                          <p:stCondLst>
                                            <p:cond delay="0"/>
                                          </p:stCondLst>
                                        </p:cTn>
                                        <p:tgtEl>
                                          <p:spTgt spid="4"/>
                                        </p:tgtEl>
                                        <p:attrNameLst>
                                          <p:attrName>ppt_x</p:attrName>
                                          <p:attrName>ppt_y</p:attrName>
                                        </p:attrNameLst>
                                      </p:cBhvr>
                                    </p:animMotion>
                                    <p:animEffect transition="in" filter="fade">
                                      <p:cBhvr>
                                        <p:cTn id="24" dur="1000"/>
                                        <p:tgtEl>
                                          <p:spTgt spid="4"/>
                                        </p:tgtEl>
                                      </p:cBhvr>
                                    </p:animEffect>
                                  </p:childTnLst>
                                </p:cTn>
                              </p:par>
                            </p:childTnLst>
                          </p:cTn>
                        </p:par>
                      </p:childTnLst>
                    </p:cTn>
                  </p:par>
                  <p:par>
                    <p:cTn id="25" fill="hold">
                      <p:stCondLst>
                        <p:cond delay="indefinite"/>
                      </p:stCondLst>
                      <p:childTnLst>
                        <p:par>
                          <p:cTn id="26" fill="hold">
                            <p:stCondLst>
                              <p:cond delay="0"/>
                            </p:stCondLst>
                            <p:childTnLst>
                              <p:par>
                                <p:cTn id="27" presetID="52" presetClass="entr" presetSubtype="0" fill="hold" nodeType="clickEffect">
                                  <p:stCondLst>
                                    <p:cond delay="0"/>
                                  </p:stCondLst>
                                  <p:childTnLst>
                                    <p:set>
                                      <p:cBhvr>
                                        <p:cTn id="28" dur="1" fill="hold">
                                          <p:stCondLst>
                                            <p:cond delay="0"/>
                                          </p:stCondLst>
                                        </p:cTn>
                                        <p:tgtEl>
                                          <p:spTgt spid="2"/>
                                        </p:tgtEl>
                                        <p:attrNameLst>
                                          <p:attrName>style.visibility</p:attrName>
                                        </p:attrNameLst>
                                      </p:cBhvr>
                                      <p:to>
                                        <p:strVal val="visible"/>
                                      </p:to>
                                    </p:set>
                                    <p:animScale>
                                      <p:cBhvr>
                                        <p:cTn id="29" dur="1000" decel="50000" fill="hold">
                                          <p:stCondLst>
                                            <p:cond delay="0"/>
                                          </p:stCondLst>
                                        </p:cTn>
                                        <p:tgtEl>
                                          <p:spTgt spid="2"/>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30" dur="1000" decel="50000" fill="hold">
                                          <p:stCondLst>
                                            <p:cond delay="0"/>
                                          </p:stCondLst>
                                        </p:cTn>
                                        <p:tgtEl>
                                          <p:spTgt spid="2"/>
                                        </p:tgtEl>
                                        <p:attrNameLst>
                                          <p:attrName>ppt_x</p:attrName>
                                          <p:attrName>ppt_y</p:attrName>
                                        </p:attrNameLst>
                                      </p:cBhvr>
                                    </p:animMotion>
                                    <p:animEffect transition="in" filter="fade">
                                      <p:cBhvr>
                                        <p:cTn id="31" dur="1000"/>
                                        <p:tgtEl>
                                          <p:spTgt spid="2"/>
                                        </p:tgtEl>
                                      </p:cBhvr>
                                    </p:animEffect>
                                  </p:childTnLst>
                                </p:cTn>
                              </p:par>
                            </p:childTnLst>
                          </p:cTn>
                        </p:par>
                      </p:childTnLst>
                    </p:cTn>
                  </p:par>
                  <p:par>
                    <p:cTn id="32" fill="hold">
                      <p:stCondLst>
                        <p:cond delay="indefinite"/>
                      </p:stCondLst>
                      <p:childTnLst>
                        <p:par>
                          <p:cTn id="33" fill="hold">
                            <p:stCondLst>
                              <p:cond delay="0"/>
                            </p:stCondLst>
                            <p:childTnLst>
                              <p:par>
                                <p:cTn id="34" presetID="52" presetClass="entr" presetSubtype="0" fill="hold" nodeType="clickEffect">
                                  <p:stCondLst>
                                    <p:cond delay="0"/>
                                  </p:stCondLst>
                                  <p:childTnLst>
                                    <p:set>
                                      <p:cBhvr>
                                        <p:cTn id="35" dur="1" fill="hold">
                                          <p:stCondLst>
                                            <p:cond delay="0"/>
                                          </p:stCondLst>
                                        </p:cTn>
                                        <p:tgtEl>
                                          <p:spTgt spid="3"/>
                                        </p:tgtEl>
                                        <p:attrNameLst>
                                          <p:attrName>style.visibility</p:attrName>
                                        </p:attrNameLst>
                                      </p:cBhvr>
                                      <p:to>
                                        <p:strVal val="visible"/>
                                      </p:to>
                                    </p:set>
                                    <p:animScale>
                                      <p:cBhvr>
                                        <p:cTn id="36" dur="1000" decel="50000" fill="hold">
                                          <p:stCondLst>
                                            <p:cond delay="0"/>
                                          </p:stCondLst>
                                        </p:cTn>
                                        <p:tgtEl>
                                          <p:spTgt spid="3"/>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37" dur="1000" decel="50000" fill="hold">
                                          <p:stCondLst>
                                            <p:cond delay="0"/>
                                          </p:stCondLst>
                                        </p:cTn>
                                        <p:tgtEl>
                                          <p:spTgt spid="3"/>
                                        </p:tgtEl>
                                        <p:attrNameLst>
                                          <p:attrName>ppt_x</p:attrName>
                                          <p:attrName>ppt_y</p:attrName>
                                        </p:attrNameLst>
                                      </p:cBhvr>
                                    </p:animMotion>
                                    <p:animEffect transition="in" filter="fade">
                                      <p:cBhvr>
                                        <p:cTn id="38"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45"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6" name="Rectangle 4"/>
          <p:cNvSpPr>
            <a:spLocks noGrp="1" noChangeArrowheads="1"/>
          </p:cNvSpPr>
          <p:nvPr>
            <p:ph type="title"/>
          </p:nvPr>
        </p:nvSpPr>
        <p:spPr>
          <a:xfrm>
            <a:off x="403813" y="403113"/>
            <a:ext cx="8374078" cy="348942"/>
          </a:xfrm>
        </p:spPr>
        <p:txBody>
          <a:bodyPr/>
          <a:lstStyle/>
          <a:p>
            <a:pPr>
              <a:lnSpc>
                <a:spcPts val="2896"/>
              </a:lnSpc>
              <a:defRPr/>
            </a:pPr>
            <a:r>
              <a:rPr lang="en-US" sz="2400" dirty="0"/>
              <a:t>Corruption </a:t>
            </a:r>
            <a:r>
              <a:rPr lang="en-US" sz="2400" dirty="0" smtClean="0"/>
              <a:t>risk </a:t>
            </a:r>
            <a:r>
              <a:rPr lang="en-US" sz="2400" dirty="0"/>
              <a:t>a</a:t>
            </a:r>
            <a:r>
              <a:rPr lang="en-US" sz="2400" dirty="0" smtClean="0"/>
              <a:t>ssessment </a:t>
            </a:r>
            <a:r>
              <a:rPr lang="en-US" sz="2400" dirty="0"/>
              <a:t>c</a:t>
            </a:r>
            <a:r>
              <a:rPr lang="en-US" sz="2400" dirty="0" smtClean="0"/>
              <a:t>onsiderations</a:t>
            </a:r>
            <a:endParaRPr lang="en-US" sz="2400" dirty="0"/>
          </a:p>
        </p:txBody>
      </p:sp>
      <p:sp>
        <p:nvSpPr>
          <p:cNvPr id="5" name="Rectangle 8"/>
          <p:cNvSpPr>
            <a:spLocks noGrp="1" noChangeArrowheads="1"/>
          </p:cNvSpPr>
          <p:nvPr>
            <p:ph sz="quarter" idx="4294967295"/>
          </p:nvPr>
        </p:nvSpPr>
        <p:spPr>
          <a:xfrm>
            <a:off x="428602" y="1032681"/>
            <a:ext cx="8021637" cy="5478423"/>
          </a:xfrm>
          <a:prstGeom prst="rect">
            <a:avLst/>
          </a:prstGeom>
        </p:spPr>
        <p:txBody>
          <a:bodyPr/>
          <a:lstStyle/>
          <a:p>
            <a:pPr lvl="1" eaLnBrk="1" hangingPunct="1">
              <a:defRPr/>
            </a:pPr>
            <a:r>
              <a:rPr lang="en-US" sz="2000" dirty="0"/>
              <a:t>Consider who should be involved (eg Legal, compliance, audit, risk, front office)</a:t>
            </a:r>
          </a:p>
          <a:p>
            <a:pPr lvl="1" eaLnBrk="1" hangingPunct="1"/>
            <a:r>
              <a:rPr lang="en-US" sz="2000" dirty="0"/>
              <a:t>History of violations in industry</a:t>
            </a:r>
          </a:p>
          <a:p>
            <a:pPr lvl="1" eaLnBrk="1" hangingPunct="1"/>
            <a:r>
              <a:rPr lang="en-US" sz="2000" dirty="0"/>
              <a:t>Geographic locations and corruption rating from TI</a:t>
            </a:r>
          </a:p>
          <a:p>
            <a:pPr lvl="1" eaLnBrk="1" hangingPunct="1"/>
            <a:r>
              <a:rPr lang="en-US" sz="2000" dirty="0"/>
              <a:t>Business unit susceptibility and risk for corruption based on service offerings and government touch points, such as degree of government sales</a:t>
            </a:r>
          </a:p>
          <a:p>
            <a:pPr lvl="1" eaLnBrk="1" hangingPunct="1"/>
            <a:r>
              <a:rPr lang="en-US" sz="2000" dirty="0"/>
              <a:t>Identification of specific corruption schemes</a:t>
            </a:r>
          </a:p>
          <a:p>
            <a:pPr lvl="1" eaLnBrk="1" hangingPunct="1"/>
            <a:r>
              <a:rPr lang="en-US" sz="2000" dirty="0"/>
              <a:t>Use and monitoring of joint ventures</a:t>
            </a:r>
          </a:p>
          <a:p>
            <a:pPr lvl="1" eaLnBrk="1" hangingPunct="1"/>
            <a:r>
              <a:rPr lang="en-US" sz="2000" dirty="0"/>
              <a:t>Recent changes in business units such as management, acquisitions, new business, etc.</a:t>
            </a:r>
          </a:p>
          <a:p>
            <a:pPr lvl="1" eaLnBrk="1" hangingPunct="1"/>
            <a:endParaRPr lang="en-US" sz="2400" dirty="0"/>
          </a:p>
          <a:p>
            <a:pPr marL="457200" indent="-457200">
              <a:buFont typeface="Arial" pitchFamily="34" charset="0"/>
              <a:buChar char="•"/>
              <a:defRPr/>
            </a:pPr>
            <a:endParaRPr lang="en-US" dirty="0" smtClean="0"/>
          </a:p>
          <a:p>
            <a:pPr marL="457200" indent="-457200">
              <a:buFont typeface="Arial" pitchFamily="34" charset="0"/>
              <a:buChar char="•"/>
              <a:defRPr/>
            </a:pPr>
            <a:endParaRPr lang="en-US" dirty="0" smtClean="0"/>
          </a:p>
        </p:txBody>
      </p:sp>
    </p:spTree>
    <p:extLst>
      <p:ext uri="{BB962C8B-B14F-4D97-AF65-F5344CB8AC3E}">
        <p14:creationId xmlns:p14="http://schemas.microsoft.com/office/powerpoint/2010/main" val="293309289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9910" y="382807"/>
            <a:ext cx="8329612" cy="343492"/>
          </a:xfrm>
        </p:spPr>
        <p:txBody>
          <a:bodyPr/>
          <a:lstStyle/>
          <a:p>
            <a:r>
              <a:rPr lang="en-US" sz="2400" dirty="0"/>
              <a:t>Sample </a:t>
            </a:r>
            <a:r>
              <a:rPr lang="en-US" sz="2400" dirty="0" smtClean="0"/>
              <a:t>corruption risk areas/red flags</a:t>
            </a:r>
            <a:endParaRPr lang="en-US" sz="2400" dirty="0"/>
          </a:p>
        </p:txBody>
      </p:sp>
      <p:sp>
        <p:nvSpPr>
          <p:cNvPr id="3" name="Content Placeholder 2"/>
          <p:cNvSpPr>
            <a:spLocks noGrp="1"/>
          </p:cNvSpPr>
          <p:nvPr>
            <p:ph idx="1"/>
          </p:nvPr>
        </p:nvSpPr>
        <p:spPr>
          <a:xfrm>
            <a:off x="411163" y="1400175"/>
            <a:ext cx="8331200" cy="5021888"/>
          </a:xfrm>
        </p:spPr>
        <p:txBody>
          <a:bodyPr/>
          <a:lstStyle/>
          <a:p>
            <a:pPr lvl="1" eaLnBrk="1" hangingPunct="1"/>
            <a:r>
              <a:rPr lang="en-US" sz="1800" dirty="0">
                <a:solidFill>
                  <a:schemeClr val="tx1"/>
                </a:solidFill>
              </a:rPr>
              <a:t>Gifts, meals, and entertainment are provided to foreign government officials with a corrupt intent</a:t>
            </a:r>
          </a:p>
          <a:p>
            <a:pPr lvl="1" eaLnBrk="1" hangingPunct="1"/>
            <a:r>
              <a:rPr lang="en-US" sz="1800" dirty="0">
                <a:solidFill>
                  <a:schemeClr val="tx1"/>
                </a:solidFill>
              </a:rPr>
              <a:t>Commissions provided to third parties as a conduit for payments to foreign government officials</a:t>
            </a:r>
          </a:p>
          <a:p>
            <a:pPr lvl="1" eaLnBrk="1" hangingPunct="1"/>
            <a:r>
              <a:rPr lang="en-US" sz="1800" dirty="0">
                <a:solidFill>
                  <a:schemeClr val="tx1"/>
                </a:solidFill>
              </a:rPr>
              <a:t>Inappropriate payments disguised as consulting fees, services fees, charitable contributions</a:t>
            </a:r>
          </a:p>
          <a:p>
            <a:pPr lvl="1" eaLnBrk="1" hangingPunct="1"/>
            <a:r>
              <a:rPr lang="en-US" sz="1800" dirty="0">
                <a:solidFill>
                  <a:schemeClr val="tx1"/>
                </a:solidFill>
              </a:rPr>
              <a:t>Facilitating payments made without authorization or approval</a:t>
            </a:r>
          </a:p>
          <a:p>
            <a:pPr lvl="1" eaLnBrk="1" hangingPunct="1"/>
            <a:r>
              <a:rPr lang="en-US" sz="1800" dirty="0" smtClean="0">
                <a:solidFill>
                  <a:schemeClr val="tx1"/>
                </a:solidFill>
              </a:rPr>
              <a:t>Corporate </a:t>
            </a:r>
            <a:r>
              <a:rPr lang="en-US" sz="1800" dirty="0">
                <a:solidFill>
                  <a:schemeClr val="tx1"/>
                </a:solidFill>
              </a:rPr>
              <a:t>services or benefits used to convey improper benefits</a:t>
            </a:r>
          </a:p>
          <a:p>
            <a:pPr lvl="1"/>
            <a:r>
              <a:rPr lang="en-US" sz="1800" dirty="0" smtClean="0"/>
              <a:t>Receipt </a:t>
            </a:r>
            <a:r>
              <a:rPr lang="en-US" sz="1800" dirty="0"/>
              <a:t>of investment dollars from governments or quasi-governments for pension or other funds</a:t>
            </a:r>
          </a:p>
          <a:p>
            <a:pPr lvl="1"/>
            <a:r>
              <a:rPr lang="en-US" sz="1800" dirty="0" smtClean="0"/>
              <a:t>Selling </a:t>
            </a:r>
            <a:r>
              <a:rPr lang="en-US" sz="1800" dirty="0"/>
              <a:t>financial products to governmental or quasi-governmental entities</a:t>
            </a:r>
          </a:p>
          <a:p>
            <a:pPr lvl="1"/>
            <a:r>
              <a:rPr lang="en-US" sz="1800" dirty="0" smtClean="0"/>
              <a:t>Bribes/payments </a:t>
            </a:r>
            <a:r>
              <a:rPr lang="en-US" sz="1800" dirty="0"/>
              <a:t>made to avoid regulatory action</a:t>
            </a:r>
          </a:p>
          <a:p>
            <a:pPr lvl="1"/>
            <a:r>
              <a:rPr lang="en-US" sz="1800" dirty="0"/>
              <a:t>Payments made to recover funds and/or avoid taxation/fines/duties</a:t>
            </a:r>
          </a:p>
          <a:p>
            <a:pPr lvl="1"/>
            <a:r>
              <a:rPr lang="en-US" sz="1800" dirty="0"/>
              <a:t>Payments made to avoid litigation or governmental intervention</a:t>
            </a:r>
          </a:p>
          <a:p>
            <a:endParaRPr lang="en-US" dirty="0"/>
          </a:p>
        </p:txBody>
      </p:sp>
    </p:spTree>
    <p:extLst>
      <p:ext uri="{BB962C8B-B14F-4D97-AF65-F5344CB8AC3E}">
        <p14:creationId xmlns:p14="http://schemas.microsoft.com/office/powerpoint/2010/main" val="7829231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2"/>
          <p:cNvSpPr>
            <a:spLocks noGrp="1"/>
          </p:cNvSpPr>
          <p:nvPr>
            <p:ph type="title"/>
          </p:nvPr>
        </p:nvSpPr>
        <p:spPr>
          <a:xfrm>
            <a:off x="450202" y="122831"/>
            <a:ext cx="8294100" cy="614148"/>
          </a:xfrm>
        </p:spPr>
        <p:txBody>
          <a:bodyPr/>
          <a:lstStyle/>
          <a:p>
            <a:r>
              <a:rPr lang="en-US" sz="2400" dirty="0" smtClean="0"/>
              <a:t>Anti-corruption </a:t>
            </a:r>
            <a:r>
              <a:rPr lang="en-US" sz="2400" dirty="0"/>
              <a:t>c</a:t>
            </a:r>
            <a:r>
              <a:rPr lang="en-US" sz="2400" dirty="0" smtClean="0"/>
              <a:t>ompliance program </a:t>
            </a:r>
            <a:r>
              <a:rPr lang="en-US" sz="2400" dirty="0"/>
              <a:t>e</a:t>
            </a:r>
            <a:r>
              <a:rPr lang="en-US" sz="2400" dirty="0" smtClean="0"/>
              <a:t>xamples and considerations</a:t>
            </a:r>
          </a:p>
        </p:txBody>
      </p:sp>
      <p:sp>
        <p:nvSpPr>
          <p:cNvPr id="10" name="Rectangle 5"/>
          <p:cNvSpPr>
            <a:spLocks noChangeArrowheads="1"/>
          </p:cNvSpPr>
          <p:nvPr/>
        </p:nvSpPr>
        <p:spPr bwMode="auto">
          <a:xfrm>
            <a:off x="450202" y="1207187"/>
            <a:ext cx="1473256" cy="1574105"/>
          </a:xfrm>
          <a:prstGeom prst="rect">
            <a:avLst/>
          </a:prstGeom>
          <a:solidFill>
            <a:srgbClr val="002776">
              <a:lumMod val="40000"/>
              <a:lumOff val="60000"/>
            </a:srgbClr>
          </a:solidFill>
          <a:ln w="6350">
            <a:noFill/>
            <a:miter lim="800000"/>
            <a:headEnd/>
            <a:tailEnd/>
          </a:ln>
        </p:spPr>
        <p:txBody>
          <a:bodyPr lIns="45702" tIns="45702" rIns="45702" bIns="45702" anchor="ctr"/>
          <a:lstStyle/>
          <a:p>
            <a:pPr defTabSz="914253" fontAlgn="auto">
              <a:spcBef>
                <a:spcPts val="0"/>
              </a:spcBef>
              <a:spcAft>
                <a:spcPts val="0"/>
              </a:spcAft>
              <a:defRPr/>
            </a:pPr>
            <a:r>
              <a:rPr lang="en-US" sz="1400" kern="0" dirty="0" smtClean="0">
                <a:solidFill>
                  <a:srgbClr val="FFFFFF"/>
                </a:solidFill>
              </a:rPr>
              <a:t>Governance Model</a:t>
            </a:r>
            <a:endParaRPr lang="en-US" sz="1400" kern="0" dirty="0">
              <a:solidFill>
                <a:srgbClr val="FFFFFF"/>
              </a:solidFill>
            </a:endParaRPr>
          </a:p>
        </p:txBody>
      </p:sp>
      <p:sp>
        <p:nvSpPr>
          <p:cNvPr id="11" name="Rectangle 8"/>
          <p:cNvSpPr>
            <a:spLocks noChangeArrowheads="1"/>
          </p:cNvSpPr>
          <p:nvPr/>
        </p:nvSpPr>
        <p:spPr bwMode="gray">
          <a:xfrm>
            <a:off x="2012921" y="1207187"/>
            <a:ext cx="6532252" cy="1579707"/>
          </a:xfrm>
          <a:prstGeom prst="rect">
            <a:avLst/>
          </a:prstGeom>
          <a:noFill/>
          <a:ln w="19050">
            <a:solidFill>
              <a:srgbClr val="002776"/>
            </a:solidFill>
            <a:miter lim="800000"/>
            <a:headEnd/>
            <a:tailEnd/>
          </a:ln>
        </p:spPr>
        <p:txBody>
          <a:bodyPr lIns="73141" tIns="45712" rIns="73141" bIns="0"/>
          <a:lstStyle/>
          <a:p>
            <a:pPr marL="347608" indent="-231738" algn="l" defTabSz="914253" fontAlgn="auto">
              <a:spcBef>
                <a:spcPts val="0"/>
              </a:spcBef>
              <a:spcAft>
                <a:spcPts val="0"/>
              </a:spcAft>
              <a:buFont typeface="Wingdings" pitchFamily="2" charset="2"/>
              <a:buChar char="q"/>
              <a:defRPr/>
            </a:pPr>
            <a:r>
              <a:rPr lang="en-US" sz="1400" b="0" kern="0" dirty="0">
                <a:solidFill>
                  <a:schemeClr val="tx2"/>
                </a:solidFill>
              </a:rPr>
              <a:t>Tone at the top – messaging from senior management</a:t>
            </a:r>
          </a:p>
          <a:p>
            <a:pPr marL="347608" indent="-231738" algn="l" defTabSz="914253" fontAlgn="auto">
              <a:spcBef>
                <a:spcPts val="0"/>
              </a:spcBef>
              <a:spcAft>
                <a:spcPts val="0"/>
              </a:spcAft>
              <a:buFont typeface="Wingdings" pitchFamily="2" charset="2"/>
              <a:buChar char="q"/>
              <a:defRPr/>
            </a:pPr>
            <a:r>
              <a:rPr lang="en-US" sz="1400" b="0" kern="0" dirty="0">
                <a:solidFill>
                  <a:schemeClr val="tx2"/>
                </a:solidFill>
              </a:rPr>
              <a:t>Code of conduct</a:t>
            </a:r>
          </a:p>
          <a:p>
            <a:pPr marL="347608" indent="-231738" algn="l" defTabSz="914253" fontAlgn="auto">
              <a:spcBef>
                <a:spcPts val="0"/>
              </a:spcBef>
              <a:spcAft>
                <a:spcPts val="0"/>
              </a:spcAft>
              <a:buFont typeface="Wingdings" pitchFamily="2" charset="2"/>
              <a:buChar char="q"/>
              <a:defRPr/>
            </a:pPr>
            <a:r>
              <a:rPr lang="en-US" sz="1400" b="0" kern="0" dirty="0">
                <a:solidFill>
                  <a:schemeClr val="tx2"/>
                </a:solidFill>
              </a:rPr>
              <a:t>Ethics hotline/whistleblower program</a:t>
            </a:r>
          </a:p>
          <a:p>
            <a:pPr marL="347608" indent="-231738" algn="l" defTabSz="914253" fontAlgn="auto">
              <a:spcBef>
                <a:spcPts val="0"/>
              </a:spcBef>
              <a:spcAft>
                <a:spcPts val="0"/>
              </a:spcAft>
              <a:buFont typeface="Wingdings" pitchFamily="2" charset="2"/>
              <a:buChar char="q"/>
              <a:defRPr/>
            </a:pPr>
            <a:r>
              <a:rPr lang="en-US" sz="1400" b="0" kern="0" dirty="0">
                <a:solidFill>
                  <a:schemeClr val="tx2"/>
                </a:solidFill>
              </a:rPr>
              <a:t>Process for responding to allegations/issues and escalation protocols</a:t>
            </a:r>
          </a:p>
          <a:p>
            <a:pPr marL="347608" indent="-231738" algn="l" defTabSz="914253" fontAlgn="auto">
              <a:spcBef>
                <a:spcPts val="0"/>
              </a:spcBef>
              <a:spcAft>
                <a:spcPts val="0"/>
              </a:spcAft>
              <a:buFont typeface="Wingdings" pitchFamily="2" charset="2"/>
              <a:buChar char="q"/>
              <a:defRPr/>
            </a:pPr>
            <a:r>
              <a:rPr lang="en-US" sz="1400" b="0" kern="0" dirty="0">
                <a:solidFill>
                  <a:schemeClr val="tx2"/>
                </a:solidFill>
              </a:rPr>
              <a:t>Segregation of duties (e.g. request/approval of payments)</a:t>
            </a:r>
          </a:p>
          <a:p>
            <a:pPr marL="347608" indent="-231738" algn="l" defTabSz="914253" fontAlgn="auto">
              <a:spcBef>
                <a:spcPts val="0"/>
              </a:spcBef>
              <a:spcAft>
                <a:spcPts val="0"/>
              </a:spcAft>
              <a:buFont typeface="Wingdings" pitchFamily="2" charset="2"/>
              <a:buChar char="q"/>
              <a:defRPr/>
            </a:pPr>
            <a:r>
              <a:rPr lang="en-US" sz="1400" b="0" kern="0" dirty="0">
                <a:solidFill>
                  <a:schemeClr val="tx2"/>
                </a:solidFill>
              </a:rPr>
              <a:t>Designate </a:t>
            </a:r>
            <a:r>
              <a:rPr lang="en-US" sz="1400" b="0" kern="0" dirty="0" smtClean="0">
                <a:solidFill>
                  <a:schemeClr val="tx2"/>
                </a:solidFill>
              </a:rPr>
              <a:t>anti-corruption </a:t>
            </a:r>
            <a:r>
              <a:rPr lang="en-US" sz="1400" b="0" kern="0" dirty="0">
                <a:solidFill>
                  <a:schemeClr val="tx2"/>
                </a:solidFill>
              </a:rPr>
              <a:t>compliance oversight responsibilities (e.g. compliance committee)</a:t>
            </a:r>
          </a:p>
        </p:txBody>
      </p:sp>
      <p:sp>
        <p:nvSpPr>
          <p:cNvPr id="8" name="Rectangle 7"/>
          <p:cNvSpPr>
            <a:spLocks noChangeArrowheads="1"/>
          </p:cNvSpPr>
          <p:nvPr/>
        </p:nvSpPr>
        <p:spPr bwMode="auto">
          <a:xfrm>
            <a:off x="468961" y="2869521"/>
            <a:ext cx="1473256" cy="3066984"/>
          </a:xfrm>
          <a:prstGeom prst="rect">
            <a:avLst/>
          </a:prstGeom>
          <a:solidFill>
            <a:srgbClr val="002776">
              <a:lumMod val="40000"/>
              <a:lumOff val="60000"/>
            </a:srgbClr>
          </a:solidFill>
          <a:ln w="6350">
            <a:noFill/>
            <a:miter lim="800000"/>
            <a:headEnd/>
            <a:tailEnd/>
          </a:ln>
        </p:spPr>
        <p:txBody>
          <a:bodyPr lIns="45702" tIns="45702" rIns="45702" bIns="45702" anchor="ctr"/>
          <a:lstStyle/>
          <a:p>
            <a:pPr defTabSz="914253" fontAlgn="auto">
              <a:spcBef>
                <a:spcPts val="0"/>
              </a:spcBef>
              <a:spcAft>
                <a:spcPts val="0"/>
              </a:spcAft>
              <a:defRPr/>
            </a:pPr>
            <a:r>
              <a:rPr lang="en-US" sz="1400" kern="0" dirty="0" smtClean="0">
                <a:solidFill>
                  <a:srgbClr val="FFFFFF"/>
                </a:solidFill>
              </a:rPr>
              <a:t> </a:t>
            </a:r>
            <a:r>
              <a:rPr lang="en-US" sz="1400" kern="0" dirty="0">
                <a:solidFill>
                  <a:srgbClr val="FFFFFF"/>
                </a:solidFill>
              </a:rPr>
              <a:t>Policies &amp; Procedures</a:t>
            </a:r>
          </a:p>
        </p:txBody>
      </p:sp>
      <p:sp>
        <p:nvSpPr>
          <p:cNvPr id="9" name="Rectangle 8"/>
          <p:cNvSpPr>
            <a:spLocks noChangeArrowheads="1"/>
          </p:cNvSpPr>
          <p:nvPr/>
        </p:nvSpPr>
        <p:spPr bwMode="gray">
          <a:xfrm>
            <a:off x="2017250" y="2869521"/>
            <a:ext cx="6532253" cy="3075386"/>
          </a:xfrm>
          <a:prstGeom prst="rect">
            <a:avLst/>
          </a:prstGeom>
          <a:noFill/>
          <a:ln w="19050">
            <a:solidFill>
              <a:srgbClr val="002776"/>
            </a:solidFill>
            <a:miter lim="800000"/>
            <a:headEnd/>
            <a:tailEnd/>
          </a:ln>
        </p:spPr>
        <p:txBody>
          <a:bodyPr lIns="73141" tIns="45712" rIns="73141" bIns="0"/>
          <a:lstStyle/>
          <a:p>
            <a:pPr marL="347608" indent="-231738" algn="l" defTabSz="914253" fontAlgn="auto">
              <a:spcBef>
                <a:spcPts val="0"/>
              </a:spcBef>
              <a:spcAft>
                <a:spcPts val="0"/>
              </a:spcAft>
              <a:buFont typeface="Wingdings" pitchFamily="2" charset="2"/>
              <a:buChar char="q"/>
              <a:defRPr/>
            </a:pPr>
            <a:r>
              <a:rPr lang="en-US" sz="1400" b="0" kern="0" dirty="0" smtClean="0">
                <a:solidFill>
                  <a:schemeClr val="tx2"/>
                </a:solidFill>
              </a:rPr>
              <a:t>Anti-corruption </a:t>
            </a:r>
            <a:r>
              <a:rPr lang="en-US" sz="1400" b="0" kern="0" dirty="0">
                <a:solidFill>
                  <a:schemeClr val="tx2"/>
                </a:solidFill>
              </a:rPr>
              <a:t>policies and procedures covering topics such as:</a:t>
            </a:r>
          </a:p>
          <a:p>
            <a:pPr marL="804734" lvl="1" indent="-231738" algn="l" defTabSz="914253" fontAlgn="auto">
              <a:spcBef>
                <a:spcPts val="0"/>
              </a:spcBef>
              <a:spcAft>
                <a:spcPts val="0"/>
              </a:spcAft>
              <a:buFont typeface="Arial" charset="0"/>
              <a:buChar char="−"/>
              <a:defRPr/>
            </a:pPr>
            <a:r>
              <a:rPr lang="en-US" sz="1400" b="0" kern="0" dirty="0">
                <a:solidFill>
                  <a:schemeClr val="tx2"/>
                </a:solidFill>
              </a:rPr>
              <a:t>Overview of </a:t>
            </a:r>
            <a:r>
              <a:rPr lang="en-US" sz="1400" b="0" kern="0" dirty="0" smtClean="0">
                <a:solidFill>
                  <a:schemeClr val="tx2"/>
                </a:solidFill>
              </a:rPr>
              <a:t>anti-corruption laws, </a:t>
            </a:r>
            <a:r>
              <a:rPr lang="en-US" sz="1400" b="0" kern="0" dirty="0">
                <a:solidFill>
                  <a:schemeClr val="tx2"/>
                </a:solidFill>
              </a:rPr>
              <a:t>definitions of foreign officials, permitted payments, prohibited payments, etc</a:t>
            </a:r>
          </a:p>
          <a:p>
            <a:pPr marL="804734" lvl="1" indent="-231738" algn="l" defTabSz="914253" fontAlgn="auto">
              <a:spcBef>
                <a:spcPts val="0"/>
              </a:spcBef>
              <a:spcAft>
                <a:spcPts val="0"/>
              </a:spcAft>
              <a:buFont typeface="Arial" charset="0"/>
              <a:buChar char="−"/>
              <a:defRPr/>
            </a:pPr>
            <a:r>
              <a:rPr lang="en-US" sz="1400" b="0" kern="0" dirty="0">
                <a:solidFill>
                  <a:schemeClr val="tx2"/>
                </a:solidFill>
              </a:rPr>
              <a:t>Gifts, entertainment of government officials</a:t>
            </a:r>
          </a:p>
          <a:p>
            <a:pPr marL="804734" lvl="1" indent="-231738" algn="l" defTabSz="914253" fontAlgn="auto">
              <a:spcBef>
                <a:spcPts val="0"/>
              </a:spcBef>
              <a:spcAft>
                <a:spcPts val="0"/>
              </a:spcAft>
              <a:buFont typeface="Arial" charset="0"/>
              <a:buChar char="−"/>
              <a:defRPr/>
            </a:pPr>
            <a:r>
              <a:rPr lang="en-US" sz="1400" b="0" kern="0" dirty="0">
                <a:solidFill>
                  <a:schemeClr val="tx2"/>
                </a:solidFill>
              </a:rPr>
              <a:t>Facilitating payments</a:t>
            </a:r>
          </a:p>
          <a:p>
            <a:pPr marL="804734" lvl="1" indent="-231738" algn="l" defTabSz="914253" fontAlgn="auto">
              <a:spcBef>
                <a:spcPts val="0"/>
              </a:spcBef>
              <a:spcAft>
                <a:spcPts val="0"/>
              </a:spcAft>
              <a:buFont typeface="Arial" charset="0"/>
              <a:buChar char="−"/>
              <a:defRPr/>
            </a:pPr>
            <a:r>
              <a:rPr lang="en-US" sz="1400" b="0" kern="0" dirty="0">
                <a:solidFill>
                  <a:schemeClr val="tx2"/>
                </a:solidFill>
              </a:rPr>
              <a:t>Charitable or political contributions</a:t>
            </a:r>
          </a:p>
          <a:p>
            <a:pPr marL="804734" lvl="1" indent="-231738" algn="l" defTabSz="914253" fontAlgn="auto">
              <a:spcBef>
                <a:spcPts val="0"/>
              </a:spcBef>
              <a:spcAft>
                <a:spcPts val="0"/>
              </a:spcAft>
              <a:buFont typeface="Arial" charset="0"/>
              <a:buChar char="−"/>
              <a:defRPr/>
            </a:pPr>
            <a:r>
              <a:rPr lang="en-US" sz="1400" b="0" kern="0" dirty="0">
                <a:solidFill>
                  <a:schemeClr val="tx2"/>
                </a:solidFill>
              </a:rPr>
              <a:t>Requirements for entering 3</a:t>
            </a:r>
            <a:r>
              <a:rPr lang="en-US" sz="1400" b="0" kern="0" baseline="30000" dirty="0">
                <a:solidFill>
                  <a:schemeClr val="tx2"/>
                </a:solidFill>
              </a:rPr>
              <a:t>rd</a:t>
            </a:r>
            <a:r>
              <a:rPr lang="en-US" sz="1400" b="0" kern="0" dirty="0">
                <a:solidFill>
                  <a:schemeClr val="tx2"/>
                </a:solidFill>
              </a:rPr>
              <a:t> party agreements, due diligence, payments</a:t>
            </a:r>
          </a:p>
          <a:p>
            <a:pPr marL="804734" lvl="1" indent="-231738" algn="l" defTabSz="914253" fontAlgn="auto">
              <a:spcBef>
                <a:spcPts val="0"/>
              </a:spcBef>
              <a:spcAft>
                <a:spcPts val="0"/>
              </a:spcAft>
              <a:buFont typeface="Arial" charset="0"/>
              <a:buChar char="−"/>
              <a:defRPr/>
            </a:pPr>
            <a:r>
              <a:rPr lang="en-US" sz="1400" b="0" kern="0" dirty="0">
                <a:solidFill>
                  <a:schemeClr val="tx2"/>
                </a:solidFill>
              </a:rPr>
              <a:t>Requirements for M&amp;A activities (e.g. due diligence), partnerships, JVs</a:t>
            </a:r>
          </a:p>
          <a:p>
            <a:pPr marL="804734" lvl="1" indent="-231738" algn="l" defTabSz="914253" fontAlgn="auto">
              <a:spcBef>
                <a:spcPts val="0"/>
              </a:spcBef>
              <a:spcAft>
                <a:spcPts val="0"/>
              </a:spcAft>
              <a:buFont typeface="Arial" charset="0"/>
              <a:buChar char="−"/>
              <a:defRPr/>
            </a:pPr>
            <a:endParaRPr lang="en-US" sz="1400" b="0" kern="0" dirty="0">
              <a:solidFill>
                <a:schemeClr val="tx2"/>
              </a:solidFill>
            </a:endParaRPr>
          </a:p>
          <a:p>
            <a:pPr marL="347608" indent="-231738" algn="l" defTabSz="914253" fontAlgn="auto">
              <a:spcBef>
                <a:spcPts val="0"/>
              </a:spcBef>
              <a:spcAft>
                <a:spcPts val="0"/>
              </a:spcAft>
              <a:buFont typeface="Wingdings" pitchFamily="2" charset="2"/>
              <a:buChar char="q"/>
              <a:defRPr/>
            </a:pPr>
            <a:r>
              <a:rPr lang="en-US" sz="1400" b="0" kern="0" dirty="0">
                <a:solidFill>
                  <a:schemeClr val="tx2"/>
                </a:solidFill>
              </a:rPr>
              <a:t>HR policies and procedures (hiring policies, training, disciplinary policy)</a:t>
            </a:r>
          </a:p>
          <a:p>
            <a:pPr marL="347608" indent="-231738" algn="l" defTabSz="914253" fontAlgn="auto">
              <a:spcBef>
                <a:spcPts val="0"/>
              </a:spcBef>
              <a:spcAft>
                <a:spcPts val="0"/>
              </a:spcAft>
              <a:buFont typeface="Wingdings" pitchFamily="2" charset="2"/>
              <a:buChar char="q"/>
              <a:defRPr/>
            </a:pPr>
            <a:r>
              <a:rPr lang="en-US" sz="1400" b="0" kern="0" dirty="0">
                <a:solidFill>
                  <a:schemeClr val="tx2"/>
                </a:solidFill>
              </a:rPr>
              <a:t>Accounting policies and procedures (maintenance of books and records);</a:t>
            </a:r>
          </a:p>
          <a:p>
            <a:pPr marL="347608" indent="-231738" algn="l" defTabSz="914253" fontAlgn="auto">
              <a:spcBef>
                <a:spcPts val="0"/>
              </a:spcBef>
              <a:spcAft>
                <a:spcPts val="0"/>
              </a:spcAft>
              <a:buFont typeface="Wingdings" pitchFamily="2" charset="2"/>
              <a:buChar char="q"/>
              <a:defRPr/>
            </a:pPr>
            <a:r>
              <a:rPr lang="en-US" sz="1400" b="0" kern="0" dirty="0">
                <a:solidFill>
                  <a:schemeClr val="tx2"/>
                </a:solidFill>
              </a:rPr>
              <a:t>Standards for updating polices and procedures</a:t>
            </a:r>
          </a:p>
          <a:p>
            <a:pPr marL="804734" lvl="1" indent="-231738" defTabSz="914253" fontAlgn="auto">
              <a:spcBef>
                <a:spcPts val="0"/>
              </a:spcBef>
              <a:spcAft>
                <a:spcPts val="0"/>
              </a:spcAft>
              <a:buFont typeface="Arial" charset="0"/>
              <a:buChar char="−"/>
              <a:defRPr/>
            </a:pPr>
            <a:endParaRPr lang="en-US" sz="1400" kern="0" dirty="0">
              <a:solidFill>
                <a:schemeClr val="tx2"/>
              </a:solidFill>
            </a:endParaRPr>
          </a:p>
        </p:txBody>
      </p:sp>
    </p:spTree>
    <p:extLst>
      <p:ext uri="{BB962C8B-B14F-4D97-AF65-F5344CB8AC3E}">
        <p14:creationId xmlns:p14="http://schemas.microsoft.com/office/powerpoint/2010/main" val="321464898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27" name="Rectangle 15"/>
          <p:cNvSpPr>
            <a:spLocks noGrp="1"/>
          </p:cNvSpPr>
          <p:nvPr>
            <p:ph type="title"/>
          </p:nvPr>
        </p:nvSpPr>
        <p:spPr bwMode="gray">
          <a:xfrm>
            <a:off x="414338" y="450279"/>
            <a:ext cx="8330184" cy="333425"/>
          </a:xfrm>
        </p:spPr>
        <p:txBody>
          <a:bodyPr/>
          <a:lstStyle/>
          <a:p>
            <a:r>
              <a:rPr lang="en-GB" dirty="0"/>
              <a:t>Table of </a:t>
            </a:r>
            <a:r>
              <a:rPr lang="en-GB" dirty="0" smtClean="0"/>
              <a:t>contents</a:t>
            </a:r>
            <a:endParaRPr lang="en-US" dirty="0" smtClean="0"/>
          </a:p>
        </p:txBody>
      </p:sp>
      <p:graphicFrame>
        <p:nvGraphicFramePr>
          <p:cNvPr id="3" name="Table 2"/>
          <p:cNvGraphicFramePr>
            <a:graphicFrameLocks noGrp="1"/>
          </p:cNvGraphicFramePr>
          <p:nvPr>
            <p:extLst>
              <p:ext uri="{D42A27DB-BD31-4B8C-83A1-F6EECF244321}">
                <p14:modId xmlns:p14="http://schemas.microsoft.com/office/powerpoint/2010/main" val="2991450918"/>
              </p:ext>
            </p:extLst>
          </p:nvPr>
        </p:nvGraphicFramePr>
        <p:xfrm>
          <a:off x="417094" y="1400175"/>
          <a:ext cx="6083718" cy="1865604"/>
        </p:xfrm>
        <a:graphic>
          <a:graphicData uri="http://schemas.openxmlformats.org/drawingml/2006/table">
            <a:tbl>
              <a:tblPr firstRow="1" bandRow="1">
                <a:tableStyleId>{5C22544A-7EE6-4342-B048-85BDC9FD1C3A}</a:tableStyleId>
              </a:tblPr>
              <a:tblGrid>
                <a:gridCol w="6083718"/>
              </a:tblGrid>
              <a:tr h="612762">
                <a:tc>
                  <a:txBody>
                    <a:bodyPr/>
                    <a:lstStyle/>
                    <a:p>
                      <a:r>
                        <a:rPr lang="en-US" b="0" dirty="0" smtClean="0">
                          <a:solidFill>
                            <a:schemeClr val="tx2"/>
                          </a:solidFill>
                        </a:rPr>
                        <a:t>Overview</a:t>
                      </a:r>
                      <a:r>
                        <a:rPr lang="en-US" b="0" baseline="0" dirty="0" smtClean="0">
                          <a:solidFill>
                            <a:schemeClr val="tx2"/>
                          </a:solidFill>
                        </a:rPr>
                        <a:t> of FCPA and UK Bribery Act</a:t>
                      </a:r>
                      <a:r>
                        <a:rPr lang="en-US" b="0" dirty="0" smtClean="0">
                          <a:solidFill>
                            <a:schemeClr val="tx2"/>
                          </a:solidFill>
                        </a:rPr>
                        <a:t>                                                                                          </a:t>
                      </a:r>
                    </a:p>
                  </a:txBody>
                  <a:tcPr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r>
              <a:tr h="612762">
                <a:tc>
                  <a:txBody>
                    <a:bodyPr/>
                    <a:lstStyle/>
                    <a:p>
                      <a:r>
                        <a:rPr lang="en-US" b="0" dirty="0" smtClean="0">
                          <a:solidFill>
                            <a:schemeClr val="tx2"/>
                          </a:solidFill>
                        </a:rPr>
                        <a:t>Elements</a:t>
                      </a:r>
                      <a:r>
                        <a:rPr lang="en-US" b="0" baseline="0" dirty="0" smtClean="0">
                          <a:solidFill>
                            <a:schemeClr val="tx2"/>
                          </a:solidFill>
                        </a:rPr>
                        <a:t> of an Effective Anti-Corruption Compliance Program                   </a:t>
                      </a:r>
                      <a:endParaRPr lang="en-US" b="0" dirty="0" smtClean="0">
                        <a:solidFill>
                          <a:schemeClr val="tx2"/>
                        </a:solidFill>
                      </a:endParaRPr>
                    </a:p>
                  </a:txBody>
                  <a:tcPr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r>
              <a:tr h="612762">
                <a:tc>
                  <a:txBody>
                    <a:bodyPr/>
                    <a:lstStyle/>
                    <a:p>
                      <a:r>
                        <a:rPr lang="en-US" b="0" baseline="0" dirty="0" smtClean="0">
                          <a:solidFill>
                            <a:schemeClr val="tx2"/>
                          </a:solidFill>
                        </a:rPr>
                        <a:t>Questions                                                                       </a:t>
                      </a:r>
                      <a:endParaRPr lang="en-US" b="0" dirty="0" smtClean="0">
                        <a:solidFill>
                          <a:schemeClr val="tx2"/>
                        </a:solidFill>
                      </a:endParaRPr>
                    </a:p>
                  </a:txBody>
                  <a:tcPr anchor="ct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noFill/>
                  </a:tcPr>
                </a:tc>
              </a:tr>
            </a:tbl>
          </a:graphicData>
        </a:graphic>
      </p:graphicFrame>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2"/>
          <p:cNvSpPr>
            <a:spLocks noGrp="1"/>
          </p:cNvSpPr>
          <p:nvPr>
            <p:ph type="title"/>
          </p:nvPr>
        </p:nvSpPr>
        <p:spPr>
          <a:xfrm>
            <a:off x="448759" y="103160"/>
            <a:ext cx="8330173" cy="676917"/>
          </a:xfrm>
        </p:spPr>
        <p:txBody>
          <a:bodyPr/>
          <a:lstStyle/>
          <a:p>
            <a:r>
              <a:rPr lang="en-US" sz="2400" dirty="0" smtClean="0"/>
              <a:t>Anti-corruption compliance program examples </a:t>
            </a:r>
            <a:r>
              <a:rPr lang="en-US" sz="2400" dirty="0"/>
              <a:t>and c</a:t>
            </a:r>
            <a:r>
              <a:rPr lang="en-US" sz="2400" dirty="0" smtClean="0"/>
              <a:t>onsiderations (contd.)</a:t>
            </a:r>
          </a:p>
        </p:txBody>
      </p:sp>
      <p:sp>
        <p:nvSpPr>
          <p:cNvPr id="12" name="Rectangle 5"/>
          <p:cNvSpPr>
            <a:spLocks noChangeArrowheads="1"/>
          </p:cNvSpPr>
          <p:nvPr/>
        </p:nvSpPr>
        <p:spPr bwMode="auto">
          <a:xfrm>
            <a:off x="448759" y="1076946"/>
            <a:ext cx="1473256" cy="2256123"/>
          </a:xfrm>
          <a:prstGeom prst="rect">
            <a:avLst/>
          </a:prstGeom>
          <a:solidFill>
            <a:srgbClr val="002776">
              <a:lumMod val="40000"/>
              <a:lumOff val="60000"/>
            </a:srgbClr>
          </a:solidFill>
          <a:ln w="6350">
            <a:noFill/>
            <a:miter lim="800000"/>
            <a:headEnd/>
            <a:tailEnd/>
          </a:ln>
        </p:spPr>
        <p:txBody>
          <a:bodyPr lIns="45702" tIns="45702" rIns="45702" bIns="45702" anchor="ctr"/>
          <a:lstStyle/>
          <a:p>
            <a:pPr defTabSz="914253" fontAlgn="auto">
              <a:spcBef>
                <a:spcPts val="0"/>
              </a:spcBef>
              <a:spcAft>
                <a:spcPts val="0"/>
              </a:spcAft>
              <a:defRPr/>
            </a:pPr>
            <a:r>
              <a:rPr lang="en-US" sz="1400" kern="0" dirty="0">
                <a:solidFill>
                  <a:srgbClr val="FFFFFF"/>
                </a:solidFill>
              </a:rPr>
              <a:t>Employees</a:t>
            </a:r>
          </a:p>
        </p:txBody>
      </p:sp>
      <p:sp>
        <p:nvSpPr>
          <p:cNvPr id="13" name="Rectangle 8"/>
          <p:cNvSpPr>
            <a:spLocks noChangeArrowheads="1"/>
          </p:cNvSpPr>
          <p:nvPr/>
        </p:nvSpPr>
        <p:spPr bwMode="gray">
          <a:xfrm>
            <a:off x="1998492" y="1076946"/>
            <a:ext cx="6532252" cy="2263126"/>
          </a:xfrm>
          <a:prstGeom prst="rect">
            <a:avLst/>
          </a:prstGeom>
          <a:noFill/>
          <a:ln w="19050">
            <a:solidFill>
              <a:srgbClr val="002776"/>
            </a:solidFill>
            <a:miter lim="800000"/>
            <a:headEnd/>
            <a:tailEnd/>
          </a:ln>
        </p:spPr>
        <p:txBody>
          <a:bodyPr lIns="73141" tIns="45712" rIns="73141" bIns="0"/>
          <a:lstStyle/>
          <a:p>
            <a:pPr marL="347608" indent="-231738" algn="l" defTabSz="914253" fontAlgn="auto">
              <a:spcBef>
                <a:spcPts val="0"/>
              </a:spcBef>
              <a:spcAft>
                <a:spcPts val="0"/>
              </a:spcAft>
              <a:buFont typeface="Wingdings" pitchFamily="2" charset="2"/>
              <a:buChar char="q"/>
              <a:defRPr/>
            </a:pPr>
            <a:r>
              <a:rPr lang="en-US" sz="1400" b="0" kern="0" dirty="0">
                <a:solidFill>
                  <a:schemeClr val="tx2"/>
                </a:solidFill>
              </a:rPr>
              <a:t>Annual training for employees</a:t>
            </a:r>
          </a:p>
          <a:p>
            <a:pPr marL="804734" lvl="1" indent="-231738" algn="l" defTabSz="914253" fontAlgn="auto">
              <a:spcBef>
                <a:spcPts val="0"/>
              </a:spcBef>
              <a:spcAft>
                <a:spcPts val="0"/>
              </a:spcAft>
              <a:buFont typeface="Arial" charset="0"/>
              <a:buChar char="−"/>
              <a:defRPr/>
            </a:pPr>
            <a:r>
              <a:rPr lang="en-US" sz="1400" b="0" kern="0" dirty="0">
                <a:solidFill>
                  <a:schemeClr val="tx2"/>
                </a:solidFill>
              </a:rPr>
              <a:t>General (broad employee–base)</a:t>
            </a:r>
          </a:p>
          <a:p>
            <a:pPr marL="804734" lvl="1" indent="-231738" algn="l" defTabSz="914253" fontAlgn="auto">
              <a:spcBef>
                <a:spcPts val="0"/>
              </a:spcBef>
              <a:spcAft>
                <a:spcPts val="0"/>
              </a:spcAft>
              <a:buFont typeface="Arial" charset="0"/>
              <a:buChar char="−"/>
              <a:defRPr/>
            </a:pPr>
            <a:r>
              <a:rPr lang="en-US" sz="1400" b="0" kern="0" dirty="0">
                <a:solidFill>
                  <a:schemeClr val="tx2"/>
                </a:solidFill>
              </a:rPr>
              <a:t>Function-specific (training for departments such as </a:t>
            </a:r>
            <a:r>
              <a:rPr lang="en-US" sz="1400" b="0" kern="0" dirty="0" smtClean="0">
                <a:solidFill>
                  <a:schemeClr val="tx2"/>
                </a:solidFill>
              </a:rPr>
              <a:t>Trading, </a:t>
            </a:r>
            <a:r>
              <a:rPr lang="en-US" sz="1400" b="0" kern="0" dirty="0">
                <a:solidFill>
                  <a:schemeClr val="tx2"/>
                </a:solidFill>
              </a:rPr>
              <a:t>Finance</a:t>
            </a:r>
            <a:r>
              <a:rPr lang="en-US" sz="1400" b="0" kern="0" dirty="0" smtClean="0">
                <a:solidFill>
                  <a:schemeClr val="tx2"/>
                </a:solidFill>
              </a:rPr>
              <a:t>, Risk, </a:t>
            </a:r>
            <a:r>
              <a:rPr lang="en-US" sz="1400" b="0" kern="0" dirty="0">
                <a:solidFill>
                  <a:schemeClr val="tx2"/>
                </a:solidFill>
              </a:rPr>
              <a:t>Internal Audit focused on risks relevant to audience)</a:t>
            </a:r>
          </a:p>
          <a:p>
            <a:pPr marL="347608" indent="-231738" algn="l" defTabSz="914253" fontAlgn="auto">
              <a:spcBef>
                <a:spcPts val="0"/>
              </a:spcBef>
              <a:spcAft>
                <a:spcPts val="0"/>
              </a:spcAft>
              <a:buFont typeface="Wingdings" pitchFamily="2" charset="2"/>
              <a:buChar char="q"/>
              <a:defRPr/>
            </a:pPr>
            <a:r>
              <a:rPr lang="en-US" sz="1400" b="0" kern="0" dirty="0">
                <a:solidFill>
                  <a:schemeClr val="tx2"/>
                </a:solidFill>
              </a:rPr>
              <a:t>Annual certifications by employees</a:t>
            </a:r>
          </a:p>
          <a:p>
            <a:pPr marL="347608" indent="-231738" algn="l" defTabSz="914253" fontAlgn="auto">
              <a:spcBef>
                <a:spcPts val="0"/>
              </a:spcBef>
              <a:spcAft>
                <a:spcPts val="0"/>
              </a:spcAft>
              <a:buFont typeface="Wingdings" pitchFamily="2" charset="2"/>
              <a:buChar char="q"/>
              <a:defRPr/>
            </a:pPr>
            <a:r>
              <a:rPr lang="en-US" sz="1400" b="0" kern="0" dirty="0">
                <a:solidFill>
                  <a:schemeClr val="tx2"/>
                </a:solidFill>
              </a:rPr>
              <a:t>Maintenance of training materials and related records</a:t>
            </a:r>
          </a:p>
          <a:p>
            <a:pPr marL="347608" indent="-231738" algn="l" defTabSz="914253" fontAlgn="auto">
              <a:spcBef>
                <a:spcPts val="0"/>
              </a:spcBef>
              <a:spcAft>
                <a:spcPts val="0"/>
              </a:spcAft>
              <a:buFont typeface="Wingdings" pitchFamily="2" charset="2"/>
              <a:buChar char="q"/>
              <a:defRPr/>
            </a:pPr>
            <a:r>
              <a:rPr lang="en-US" sz="1400" b="0" kern="0" dirty="0">
                <a:solidFill>
                  <a:schemeClr val="tx2"/>
                </a:solidFill>
              </a:rPr>
              <a:t>Background checks on new employees/promotion candidates with focus on identifying potential government links or prior involvement in bribery or corruption scandals</a:t>
            </a:r>
          </a:p>
          <a:p>
            <a:pPr marL="804734" lvl="1" indent="-231738" defTabSz="914253" fontAlgn="auto">
              <a:spcBef>
                <a:spcPts val="0"/>
              </a:spcBef>
              <a:spcAft>
                <a:spcPts val="0"/>
              </a:spcAft>
              <a:buFont typeface="Arial" charset="0"/>
              <a:buChar char="−"/>
              <a:defRPr/>
            </a:pPr>
            <a:endParaRPr lang="en-US" sz="1400" kern="0" dirty="0">
              <a:solidFill>
                <a:schemeClr val="tx2"/>
              </a:solidFill>
            </a:endParaRPr>
          </a:p>
        </p:txBody>
      </p:sp>
      <p:sp>
        <p:nvSpPr>
          <p:cNvPr id="8" name="Rectangle 7"/>
          <p:cNvSpPr>
            <a:spLocks noChangeArrowheads="1"/>
          </p:cNvSpPr>
          <p:nvPr/>
        </p:nvSpPr>
        <p:spPr bwMode="auto">
          <a:xfrm>
            <a:off x="451645" y="3440904"/>
            <a:ext cx="1473256" cy="3080988"/>
          </a:xfrm>
          <a:prstGeom prst="rect">
            <a:avLst/>
          </a:prstGeom>
          <a:solidFill>
            <a:srgbClr val="002776">
              <a:lumMod val="40000"/>
              <a:lumOff val="60000"/>
            </a:srgbClr>
          </a:solidFill>
          <a:ln w="6350">
            <a:noFill/>
            <a:miter lim="800000"/>
            <a:headEnd/>
            <a:tailEnd/>
          </a:ln>
        </p:spPr>
        <p:txBody>
          <a:bodyPr lIns="45702" tIns="45702" rIns="45702" bIns="45702" anchor="ctr"/>
          <a:lstStyle/>
          <a:p>
            <a:pPr defTabSz="914253" fontAlgn="auto">
              <a:spcBef>
                <a:spcPts val="0"/>
              </a:spcBef>
              <a:spcAft>
                <a:spcPts val="0"/>
              </a:spcAft>
              <a:defRPr/>
            </a:pPr>
            <a:r>
              <a:rPr lang="en-US" sz="1400" kern="0" dirty="0" smtClean="0">
                <a:solidFill>
                  <a:srgbClr val="FFFFFF"/>
                </a:solidFill>
              </a:rPr>
              <a:t>Third </a:t>
            </a:r>
            <a:r>
              <a:rPr lang="en-US" sz="1400" kern="0" dirty="0">
                <a:solidFill>
                  <a:srgbClr val="FFFFFF"/>
                </a:solidFill>
              </a:rPr>
              <a:t>Parties</a:t>
            </a:r>
            <a:endParaRPr lang="en-US" sz="1400" kern="0" baseline="30000" dirty="0">
              <a:solidFill>
                <a:srgbClr val="FFFFFF"/>
              </a:solidFill>
            </a:endParaRPr>
          </a:p>
        </p:txBody>
      </p:sp>
      <p:sp>
        <p:nvSpPr>
          <p:cNvPr id="9" name="Rectangle 8"/>
          <p:cNvSpPr>
            <a:spLocks noChangeArrowheads="1"/>
          </p:cNvSpPr>
          <p:nvPr/>
        </p:nvSpPr>
        <p:spPr bwMode="gray">
          <a:xfrm>
            <a:off x="1999935" y="3440904"/>
            <a:ext cx="6532253" cy="3080988"/>
          </a:xfrm>
          <a:prstGeom prst="rect">
            <a:avLst/>
          </a:prstGeom>
          <a:noFill/>
          <a:ln w="19050">
            <a:solidFill>
              <a:srgbClr val="002776"/>
            </a:solidFill>
            <a:miter lim="800000"/>
            <a:headEnd/>
            <a:tailEnd/>
          </a:ln>
        </p:spPr>
        <p:txBody>
          <a:bodyPr lIns="73141" tIns="45712" rIns="73141" bIns="0"/>
          <a:lstStyle/>
          <a:p>
            <a:pPr marL="347608" indent="-231738" algn="l" defTabSz="914253" fontAlgn="auto">
              <a:spcBef>
                <a:spcPts val="0"/>
              </a:spcBef>
              <a:spcAft>
                <a:spcPts val="0"/>
              </a:spcAft>
              <a:buFont typeface="Wingdings" pitchFamily="2" charset="2"/>
              <a:buChar char="q"/>
              <a:defRPr/>
            </a:pPr>
            <a:r>
              <a:rPr lang="en-US" sz="1400" b="0" kern="0" dirty="0">
                <a:solidFill>
                  <a:schemeClr val="tx2"/>
                </a:solidFill>
              </a:rPr>
              <a:t>Conduct due diligence and maintain records of due diligence</a:t>
            </a:r>
          </a:p>
          <a:p>
            <a:pPr marL="347608" indent="-231738" algn="l" defTabSz="914253" fontAlgn="auto">
              <a:spcBef>
                <a:spcPts val="0"/>
              </a:spcBef>
              <a:spcAft>
                <a:spcPts val="0"/>
              </a:spcAft>
              <a:buFont typeface="Wingdings" pitchFamily="2" charset="2"/>
              <a:buChar char="q"/>
              <a:defRPr/>
            </a:pPr>
            <a:r>
              <a:rPr lang="en-US" sz="1400" b="0" kern="0" dirty="0">
                <a:solidFill>
                  <a:schemeClr val="tx2"/>
                </a:solidFill>
              </a:rPr>
              <a:t>Designate management responsible for oversight of 3rd party hiring and governance, for example:</a:t>
            </a:r>
          </a:p>
          <a:p>
            <a:pPr marL="804734" lvl="1" indent="-231738" algn="l" defTabSz="914253" fontAlgn="auto">
              <a:spcBef>
                <a:spcPts val="0"/>
              </a:spcBef>
              <a:spcAft>
                <a:spcPts val="0"/>
              </a:spcAft>
              <a:buFont typeface="Arial" pitchFamily="34" charset="0"/>
              <a:buChar char="−"/>
              <a:defRPr/>
            </a:pPr>
            <a:r>
              <a:rPr lang="en-US" sz="1400" b="0" kern="0" dirty="0">
                <a:solidFill>
                  <a:schemeClr val="tx2"/>
                </a:solidFill>
              </a:rPr>
              <a:t>Centralized approvals by committee of senior management</a:t>
            </a:r>
          </a:p>
          <a:p>
            <a:pPr marL="804734" lvl="1" indent="-231738" algn="l" defTabSz="914253" fontAlgn="auto">
              <a:spcBef>
                <a:spcPts val="0"/>
              </a:spcBef>
              <a:spcAft>
                <a:spcPts val="0"/>
              </a:spcAft>
              <a:buFont typeface="Arial" pitchFamily="34" charset="0"/>
              <a:buChar char="−"/>
              <a:defRPr/>
            </a:pPr>
            <a:r>
              <a:rPr lang="en-US" sz="1400" b="0" kern="0" dirty="0">
                <a:solidFill>
                  <a:schemeClr val="tx2"/>
                </a:solidFill>
              </a:rPr>
              <a:t>Sponsors (e.g. – employee sponsor for agent/consultant)</a:t>
            </a:r>
          </a:p>
          <a:p>
            <a:pPr marL="347608" indent="-231738" algn="l" defTabSz="914253" fontAlgn="auto">
              <a:spcBef>
                <a:spcPts val="0"/>
              </a:spcBef>
              <a:spcAft>
                <a:spcPts val="0"/>
              </a:spcAft>
              <a:buFont typeface="Wingdings" pitchFamily="2" charset="2"/>
              <a:buChar char="q"/>
              <a:defRPr/>
            </a:pPr>
            <a:r>
              <a:rPr lang="en-US" sz="1400" b="0" kern="0" dirty="0">
                <a:solidFill>
                  <a:schemeClr val="tx2"/>
                </a:solidFill>
              </a:rPr>
              <a:t>Contracts to include clauses such as: </a:t>
            </a:r>
          </a:p>
          <a:p>
            <a:pPr marL="804734" lvl="1" indent="-231738" algn="l" defTabSz="914253" fontAlgn="auto">
              <a:spcBef>
                <a:spcPts val="0"/>
              </a:spcBef>
              <a:spcAft>
                <a:spcPts val="0"/>
              </a:spcAft>
              <a:buFont typeface="Arial" pitchFamily="34" charset="0"/>
              <a:buChar char="−"/>
              <a:defRPr/>
            </a:pPr>
            <a:r>
              <a:rPr lang="en-US" sz="1400" b="0" kern="0" dirty="0">
                <a:solidFill>
                  <a:schemeClr val="tx2"/>
                </a:solidFill>
              </a:rPr>
              <a:t>Term limitations</a:t>
            </a:r>
          </a:p>
          <a:p>
            <a:pPr marL="804734" lvl="1" indent="-231738" algn="l" defTabSz="914253" fontAlgn="auto">
              <a:spcBef>
                <a:spcPts val="0"/>
              </a:spcBef>
              <a:spcAft>
                <a:spcPts val="0"/>
              </a:spcAft>
              <a:buFont typeface="Arial" pitchFamily="34" charset="0"/>
              <a:buChar char="−"/>
              <a:defRPr/>
            </a:pPr>
            <a:r>
              <a:rPr lang="en-US" sz="1400" b="0" kern="0" dirty="0">
                <a:solidFill>
                  <a:schemeClr val="tx2"/>
                </a:solidFill>
              </a:rPr>
              <a:t>Compliance with FCPA or other countries’ law </a:t>
            </a:r>
          </a:p>
          <a:p>
            <a:pPr marL="804734" lvl="1" indent="-231738" algn="l" defTabSz="914253" fontAlgn="auto">
              <a:spcBef>
                <a:spcPts val="0"/>
              </a:spcBef>
              <a:spcAft>
                <a:spcPts val="0"/>
              </a:spcAft>
              <a:buFont typeface="Arial" pitchFamily="34" charset="0"/>
              <a:buChar char="−"/>
              <a:defRPr/>
            </a:pPr>
            <a:r>
              <a:rPr lang="en-US" sz="1400" b="0" kern="0" dirty="0">
                <a:solidFill>
                  <a:schemeClr val="tx2"/>
                </a:solidFill>
              </a:rPr>
              <a:t>Limitations on ability to subcontract</a:t>
            </a:r>
          </a:p>
          <a:p>
            <a:pPr marL="804734" lvl="1" indent="-231738" algn="l" defTabSz="914253" fontAlgn="auto">
              <a:spcBef>
                <a:spcPts val="0"/>
              </a:spcBef>
              <a:spcAft>
                <a:spcPts val="0"/>
              </a:spcAft>
              <a:buFont typeface="Arial" pitchFamily="34" charset="0"/>
              <a:buChar char="−"/>
              <a:defRPr/>
            </a:pPr>
            <a:r>
              <a:rPr lang="en-US" sz="1400" b="0" kern="0" dirty="0">
                <a:solidFill>
                  <a:schemeClr val="tx2"/>
                </a:solidFill>
              </a:rPr>
              <a:t>Internal audit rights</a:t>
            </a:r>
          </a:p>
          <a:p>
            <a:pPr marL="347608" indent="-231738" algn="l" defTabSz="914253" fontAlgn="auto">
              <a:spcBef>
                <a:spcPts val="0"/>
              </a:spcBef>
              <a:spcAft>
                <a:spcPts val="0"/>
              </a:spcAft>
              <a:buFont typeface="Wingdings" pitchFamily="2" charset="2"/>
              <a:buChar char="q"/>
              <a:defRPr/>
            </a:pPr>
            <a:r>
              <a:rPr lang="en-US" sz="1400" b="0" kern="0" dirty="0">
                <a:solidFill>
                  <a:schemeClr val="tx2"/>
                </a:solidFill>
              </a:rPr>
              <a:t>Annual training and certifications for 3rd parties</a:t>
            </a:r>
          </a:p>
          <a:p>
            <a:pPr marL="347608" indent="-231738" algn="l" defTabSz="914253" fontAlgn="auto">
              <a:spcBef>
                <a:spcPts val="0"/>
              </a:spcBef>
              <a:spcAft>
                <a:spcPts val="0"/>
              </a:spcAft>
              <a:buFont typeface="Wingdings" pitchFamily="2" charset="2"/>
              <a:buChar char="q"/>
              <a:defRPr/>
            </a:pPr>
            <a:r>
              <a:rPr lang="en-US" sz="1400" b="0" kern="0" dirty="0">
                <a:solidFill>
                  <a:schemeClr val="tx2"/>
                </a:solidFill>
              </a:rPr>
              <a:t>Maintenance of training materials and related records</a:t>
            </a:r>
          </a:p>
          <a:p>
            <a:pPr marL="347608" indent="-231738" algn="l" defTabSz="914253" fontAlgn="auto">
              <a:spcBef>
                <a:spcPts val="0"/>
              </a:spcBef>
              <a:spcAft>
                <a:spcPts val="0"/>
              </a:spcAft>
              <a:buFont typeface="Wingdings" pitchFamily="2" charset="2"/>
              <a:buChar char="q"/>
              <a:defRPr/>
            </a:pPr>
            <a:r>
              <a:rPr lang="en-US" sz="1400" b="0" kern="0" dirty="0">
                <a:solidFill>
                  <a:schemeClr val="tx2"/>
                </a:solidFill>
              </a:rPr>
              <a:t>Periodic independent audits/reviews of 3rd parties such as agents/partners</a:t>
            </a:r>
          </a:p>
        </p:txBody>
      </p:sp>
    </p:spTree>
    <p:extLst>
      <p:ext uri="{BB962C8B-B14F-4D97-AF65-F5344CB8AC3E}">
        <p14:creationId xmlns:p14="http://schemas.microsoft.com/office/powerpoint/2010/main" val="58636331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7"/>
          <p:cNvSpPr>
            <a:spLocks noGrp="1"/>
          </p:cNvSpPr>
          <p:nvPr>
            <p:ph type="title"/>
          </p:nvPr>
        </p:nvSpPr>
        <p:spPr>
          <a:xfrm>
            <a:off x="425618" y="116807"/>
            <a:ext cx="8330173" cy="676917"/>
          </a:xfrm>
        </p:spPr>
        <p:txBody>
          <a:bodyPr/>
          <a:lstStyle/>
          <a:p>
            <a:r>
              <a:rPr lang="en-US" sz="2400" dirty="0" smtClean="0"/>
              <a:t>Anti-corruption compliance program examples </a:t>
            </a:r>
            <a:r>
              <a:rPr lang="en-US" sz="2400" dirty="0"/>
              <a:t>and </a:t>
            </a:r>
            <a:r>
              <a:rPr lang="en-US" sz="2400" dirty="0" smtClean="0"/>
              <a:t>considerations </a:t>
            </a:r>
            <a:r>
              <a:rPr lang="en-US" sz="2400" dirty="0"/>
              <a:t>(Contd.)</a:t>
            </a:r>
            <a:endParaRPr lang="en-US" sz="2400" dirty="0" smtClean="0"/>
          </a:p>
        </p:txBody>
      </p:sp>
      <p:sp>
        <p:nvSpPr>
          <p:cNvPr id="34819" name="Content Placeholder 2"/>
          <p:cNvSpPr>
            <a:spLocks noGrp="1"/>
          </p:cNvSpPr>
          <p:nvPr>
            <p:ph idx="4294967295"/>
          </p:nvPr>
        </p:nvSpPr>
        <p:spPr>
          <a:xfrm>
            <a:off x="451645" y="1152454"/>
            <a:ext cx="7996851" cy="923330"/>
          </a:xfrm>
        </p:spPr>
        <p:txBody>
          <a:bodyPr/>
          <a:lstStyle/>
          <a:p>
            <a:pPr eaLnBrk="1" hangingPunct="1">
              <a:spcAft>
                <a:spcPts val="999"/>
              </a:spcAft>
            </a:pPr>
            <a:r>
              <a:rPr sz="2000" dirty="0" smtClean="0">
                <a:sym typeface="Symbol" pitchFamily="18" charset="2"/>
              </a:rPr>
              <a:t>Anti-corruption controls should be monitored and tested periodically to help ensure they reasonably address anti-corruption risks.  Monitoring and testing procedures may include, but are not limited to:</a:t>
            </a:r>
          </a:p>
        </p:txBody>
      </p:sp>
      <p:grpSp>
        <p:nvGrpSpPr>
          <p:cNvPr id="2" name="Group 1"/>
          <p:cNvGrpSpPr/>
          <p:nvPr/>
        </p:nvGrpSpPr>
        <p:grpSpPr>
          <a:xfrm>
            <a:off x="451645" y="2473193"/>
            <a:ext cx="8080543" cy="2463391"/>
            <a:chOff x="451645" y="2473193"/>
            <a:chExt cx="8080543" cy="2463391"/>
          </a:xfrm>
        </p:grpSpPr>
        <p:sp>
          <p:nvSpPr>
            <p:cNvPr id="6" name="Rectangle 5"/>
            <p:cNvSpPr>
              <a:spLocks noChangeArrowheads="1"/>
            </p:cNvSpPr>
            <p:nvPr/>
          </p:nvSpPr>
          <p:spPr bwMode="auto">
            <a:xfrm>
              <a:off x="451645" y="2473193"/>
              <a:ext cx="1473256" cy="2463391"/>
            </a:xfrm>
            <a:prstGeom prst="rect">
              <a:avLst/>
            </a:prstGeom>
            <a:solidFill>
              <a:srgbClr val="002776">
                <a:lumMod val="40000"/>
                <a:lumOff val="60000"/>
              </a:srgbClr>
            </a:solidFill>
            <a:ln w="6350">
              <a:noFill/>
              <a:miter lim="800000"/>
              <a:headEnd/>
              <a:tailEnd/>
            </a:ln>
          </p:spPr>
          <p:txBody>
            <a:bodyPr lIns="45702" tIns="45702" rIns="45702" bIns="45702" anchor="ctr"/>
            <a:lstStyle/>
            <a:p>
              <a:pPr defTabSz="914253" fontAlgn="auto">
                <a:spcBef>
                  <a:spcPts val="0"/>
                </a:spcBef>
                <a:spcAft>
                  <a:spcPts val="0"/>
                </a:spcAft>
                <a:defRPr/>
              </a:pPr>
              <a:r>
                <a:rPr lang="en-US" sz="1400" kern="0" dirty="0" smtClean="0">
                  <a:solidFill>
                    <a:srgbClr val="FFFFFF"/>
                  </a:solidFill>
                </a:rPr>
                <a:t>Assessment Programs</a:t>
              </a:r>
              <a:endParaRPr lang="en-US" sz="1400" kern="0" baseline="30000" dirty="0">
                <a:solidFill>
                  <a:srgbClr val="FFFFFF"/>
                </a:solidFill>
              </a:endParaRPr>
            </a:p>
          </p:txBody>
        </p:sp>
        <p:sp>
          <p:nvSpPr>
            <p:cNvPr id="7" name="Rectangle 8"/>
            <p:cNvSpPr>
              <a:spLocks noChangeArrowheads="1"/>
            </p:cNvSpPr>
            <p:nvPr/>
          </p:nvSpPr>
          <p:spPr bwMode="gray">
            <a:xfrm>
              <a:off x="1999935" y="2473193"/>
              <a:ext cx="6532253" cy="2463391"/>
            </a:xfrm>
            <a:prstGeom prst="rect">
              <a:avLst/>
            </a:prstGeom>
            <a:noFill/>
            <a:ln w="19050">
              <a:solidFill>
                <a:srgbClr val="002776"/>
              </a:solidFill>
              <a:miter lim="800000"/>
              <a:headEnd/>
              <a:tailEnd/>
            </a:ln>
          </p:spPr>
          <p:txBody>
            <a:bodyPr lIns="73141" tIns="45712" rIns="73141" bIns="0"/>
            <a:lstStyle/>
            <a:p>
              <a:pPr marL="347608" indent="-231738" algn="l" defTabSz="914253" fontAlgn="auto">
                <a:spcBef>
                  <a:spcPts val="0"/>
                </a:spcBef>
                <a:spcAft>
                  <a:spcPts val="0"/>
                </a:spcAft>
                <a:buFont typeface="Wingdings" pitchFamily="2" charset="2"/>
                <a:buChar char="q"/>
                <a:defRPr/>
              </a:pPr>
              <a:r>
                <a:rPr lang="en-US" sz="1400" b="0" kern="0" dirty="0">
                  <a:solidFill>
                    <a:schemeClr val="tx2"/>
                  </a:solidFill>
                </a:rPr>
                <a:t>Surprise audits – internal FCPA compliance; conducted by internal audit or independent team</a:t>
              </a:r>
            </a:p>
            <a:p>
              <a:pPr marL="347608" indent="-231738" algn="l" defTabSz="914253" fontAlgn="auto">
                <a:spcBef>
                  <a:spcPts val="0"/>
                </a:spcBef>
                <a:spcAft>
                  <a:spcPts val="0"/>
                </a:spcAft>
                <a:buFont typeface="Wingdings" pitchFamily="2" charset="2"/>
                <a:buChar char="q"/>
                <a:defRPr/>
              </a:pPr>
              <a:r>
                <a:rPr lang="en-US" sz="1400" b="0" kern="0" dirty="0">
                  <a:solidFill>
                    <a:schemeClr val="tx2"/>
                  </a:solidFill>
                </a:rPr>
                <a:t>Periodic independent reviews of 3</a:t>
              </a:r>
              <a:r>
                <a:rPr lang="en-US" sz="1400" b="0" kern="0" baseline="30000" dirty="0">
                  <a:solidFill>
                    <a:schemeClr val="tx2"/>
                  </a:solidFill>
                </a:rPr>
                <a:t>rd</a:t>
              </a:r>
              <a:r>
                <a:rPr lang="en-US" sz="1400" b="0" kern="0" dirty="0">
                  <a:solidFill>
                    <a:schemeClr val="tx2"/>
                  </a:solidFill>
                </a:rPr>
                <a:t> parties such as agents/partners (exercise of contract internal audit rights)</a:t>
              </a:r>
            </a:p>
            <a:p>
              <a:pPr marL="347608" indent="-231738" algn="l" defTabSz="914253" fontAlgn="auto">
                <a:spcBef>
                  <a:spcPts val="0"/>
                </a:spcBef>
                <a:spcAft>
                  <a:spcPts val="0"/>
                </a:spcAft>
                <a:buFont typeface="Wingdings" pitchFamily="2" charset="2"/>
                <a:buChar char="q"/>
                <a:defRPr/>
              </a:pPr>
              <a:r>
                <a:rPr lang="en-US" sz="1400" b="0" kern="0" dirty="0">
                  <a:solidFill>
                    <a:schemeClr val="tx2"/>
                  </a:solidFill>
                </a:rPr>
                <a:t>Respond to/investigate information received via hotline/whistleblower program; remediate (if applicable)</a:t>
              </a:r>
            </a:p>
            <a:p>
              <a:pPr marL="347608" indent="-231738" algn="l" defTabSz="914253" fontAlgn="auto">
                <a:spcBef>
                  <a:spcPts val="0"/>
                </a:spcBef>
                <a:spcAft>
                  <a:spcPts val="0"/>
                </a:spcAft>
                <a:buFont typeface="Wingdings" pitchFamily="2" charset="2"/>
                <a:buChar char="q"/>
                <a:defRPr/>
              </a:pPr>
              <a:r>
                <a:rPr lang="en-US" sz="1400" b="0" kern="0" dirty="0">
                  <a:solidFill>
                    <a:schemeClr val="tx2"/>
                  </a:solidFill>
                </a:rPr>
                <a:t>Proactive analysis financial data and testing (e.g. 3</a:t>
              </a:r>
              <a:r>
                <a:rPr lang="en-US" sz="1400" b="0" kern="0" baseline="30000" dirty="0">
                  <a:solidFill>
                    <a:schemeClr val="tx2"/>
                  </a:solidFill>
                </a:rPr>
                <a:t>rd</a:t>
              </a:r>
              <a:r>
                <a:rPr lang="en-US" sz="1400" b="0" kern="0" dirty="0">
                  <a:solidFill>
                    <a:schemeClr val="tx2"/>
                  </a:solidFill>
                </a:rPr>
                <a:t> party payments) with objective of identifying potential red flags</a:t>
              </a:r>
            </a:p>
            <a:p>
              <a:pPr marL="347608" indent="-231738" algn="l" defTabSz="914253" fontAlgn="auto">
                <a:spcBef>
                  <a:spcPts val="0"/>
                </a:spcBef>
                <a:spcAft>
                  <a:spcPts val="0"/>
                </a:spcAft>
                <a:buFont typeface="Wingdings" pitchFamily="2" charset="2"/>
                <a:buChar char="q"/>
                <a:defRPr/>
              </a:pPr>
              <a:r>
                <a:rPr lang="en-US" sz="1400" b="0" kern="0" dirty="0">
                  <a:solidFill>
                    <a:schemeClr val="tx2"/>
                  </a:solidFill>
                </a:rPr>
                <a:t>Update annual risk assessment to include observations/findings from monitoring activities such as surprise audits, internal investigations etc</a:t>
              </a:r>
            </a:p>
            <a:p>
              <a:pPr marL="347608" indent="-231738" algn="l" defTabSz="914253" fontAlgn="auto">
                <a:spcBef>
                  <a:spcPts val="0"/>
                </a:spcBef>
                <a:spcAft>
                  <a:spcPts val="0"/>
                </a:spcAft>
                <a:buFont typeface="Wingdings" pitchFamily="2" charset="2"/>
                <a:buChar char="q"/>
                <a:defRPr/>
              </a:pPr>
              <a:r>
                <a:rPr lang="en-US" sz="1400" b="0" kern="0" dirty="0">
                  <a:solidFill>
                    <a:schemeClr val="tx2"/>
                  </a:solidFill>
                </a:rPr>
                <a:t>Maintenance of records related to monitoring and remediation activities</a:t>
              </a:r>
            </a:p>
          </p:txBody>
        </p:sp>
      </p:grpSp>
    </p:spTree>
    <p:extLst>
      <p:ext uri="{BB962C8B-B14F-4D97-AF65-F5344CB8AC3E}">
        <p14:creationId xmlns:p14="http://schemas.microsoft.com/office/powerpoint/2010/main" val="344575422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txBox="1">
            <a:spLocks noChangeArrowheads="1"/>
          </p:cNvSpPr>
          <p:nvPr/>
        </p:nvSpPr>
        <p:spPr bwMode="auto">
          <a:xfrm>
            <a:off x="304801" y="956931"/>
            <a:ext cx="7924800" cy="5430222"/>
          </a:xfrm>
          <a:prstGeom prst="rect">
            <a:avLst/>
          </a:prstGeom>
          <a:noFill/>
          <a:ln w="9525">
            <a:noFill/>
            <a:miter lim="800000"/>
            <a:headEnd/>
            <a:tailEnd/>
          </a:ln>
        </p:spPr>
        <p:txBody>
          <a:bodyPr vert="horz" wrap="square" lIns="82304" tIns="41152" rIns="82304" bIns="41152" numCol="1" anchor="t" anchorCtr="0" compatLnSpc="1">
            <a:prstTxWarp prst="textNoShape">
              <a:avLst/>
            </a:prstTxWarp>
          </a:bodyPr>
          <a:lstStyle/>
          <a:p>
            <a:pPr marL="233363" indent="-233363" algn="l">
              <a:spcAft>
                <a:spcPts val="1200"/>
              </a:spcAft>
              <a:buFont typeface="Arial" charset="0"/>
              <a:buChar char="•"/>
            </a:pPr>
            <a:r>
              <a:rPr lang="en-US" sz="2000" b="0" dirty="0" smtClean="0">
                <a:latin typeface="+mn-lt"/>
              </a:rPr>
              <a:t>Pre-determined investigation protocols</a:t>
            </a:r>
          </a:p>
          <a:p>
            <a:pPr marL="233363" indent="-233363" algn="l">
              <a:spcAft>
                <a:spcPts val="1200"/>
              </a:spcAft>
              <a:buFont typeface="Arial" charset="0"/>
              <a:buChar char="•"/>
            </a:pPr>
            <a:r>
              <a:rPr lang="en-US" sz="2000" b="0" dirty="0" smtClean="0">
                <a:latin typeface="+mn-lt"/>
              </a:rPr>
              <a:t>Stopping the suspect activity </a:t>
            </a:r>
          </a:p>
          <a:p>
            <a:pPr marL="233363" indent="-233363" algn="l">
              <a:spcAft>
                <a:spcPts val="1200"/>
              </a:spcAft>
              <a:buFont typeface="Arial" charset="0"/>
              <a:buChar char="•"/>
            </a:pPr>
            <a:r>
              <a:rPr lang="en-US" sz="2000" b="0" dirty="0" smtClean="0">
                <a:latin typeface="+mn-lt"/>
              </a:rPr>
              <a:t>Inside or outside counsel and what triggers reporting to </a:t>
            </a:r>
            <a:r>
              <a:rPr lang="en-US" sz="2000" b="0" dirty="0">
                <a:latin typeface="+mn-lt"/>
              </a:rPr>
              <a:t>audit committee</a:t>
            </a:r>
          </a:p>
          <a:p>
            <a:pPr marL="233363" lvl="0" indent="-233363" algn="l" defTabSz="823913" eaLnBrk="0" hangingPunct="0">
              <a:spcAft>
                <a:spcPts val="1200"/>
              </a:spcAft>
              <a:buClr>
                <a:srgbClr val="000000"/>
              </a:buClr>
              <a:buFont typeface="Arial" charset="0"/>
              <a:buChar char="•"/>
              <a:defRPr/>
            </a:pPr>
            <a:r>
              <a:rPr lang="en-US" sz="2000" b="0" dirty="0">
                <a:latin typeface="+mn-lt"/>
              </a:rPr>
              <a:t>Remedial actions:</a:t>
            </a:r>
          </a:p>
          <a:p>
            <a:pPr marL="455613" lvl="1" indent="-257175" algn="l" defTabSz="823913" eaLnBrk="0" hangingPunct="0">
              <a:spcAft>
                <a:spcPts val="600"/>
              </a:spcAft>
              <a:buClr>
                <a:srgbClr val="000000"/>
              </a:buClr>
              <a:buFont typeface="Arial" charset="0"/>
              <a:buChar char="−"/>
              <a:defRPr/>
            </a:pPr>
            <a:r>
              <a:rPr lang="en-US" sz="1800" b="0" kern="0" dirty="0"/>
              <a:t>Enhancing controls</a:t>
            </a:r>
          </a:p>
          <a:p>
            <a:pPr marL="455613" lvl="1" indent="-257175" algn="l" defTabSz="823913" eaLnBrk="0" hangingPunct="0">
              <a:spcAft>
                <a:spcPts val="600"/>
              </a:spcAft>
              <a:buClr>
                <a:srgbClr val="000000"/>
              </a:buClr>
              <a:buFont typeface="Arial" charset="0"/>
              <a:buChar char="−"/>
              <a:defRPr/>
            </a:pPr>
            <a:r>
              <a:rPr lang="en-US" sz="1800" b="0" kern="0" dirty="0"/>
              <a:t>Disciplining violators</a:t>
            </a:r>
          </a:p>
          <a:p>
            <a:pPr marL="455613" lvl="1" indent="-257175" algn="l" defTabSz="823913" eaLnBrk="0" hangingPunct="0">
              <a:spcAft>
                <a:spcPts val="600"/>
              </a:spcAft>
              <a:buClr>
                <a:srgbClr val="000000"/>
              </a:buClr>
              <a:buFont typeface="Arial" charset="0"/>
              <a:buChar char="−"/>
              <a:defRPr/>
            </a:pPr>
            <a:r>
              <a:rPr lang="en-US" sz="1800" b="0" kern="0" dirty="0"/>
              <a:t>Conducting additional training</a:t>
            </a:r>
          </a:p>
          <a:p>
            <a:pPr marL="455613" lvl="1" indent="-257175" algn="l" defTabSz="823913" eaLnBrk="0" hangingPunct="0">
              <a:spcAft>
                <a:spcPts val="600"/>
              </a:spcAft>
              <a:buClr>
                <a:srgbClr val="000000"/>
              </a:buClr>
              <a:buFont typeface="Arial" charset="0"/>
              <a:buChar char="−"/>
              <a:defRPr/>
            </a:pPr>
            <a:r>
              <a:rPr lang="en-US" sz="1800" b="0" kern="0" dirty="0"/>
              <a:t>Correcting books and records</a:t>
            </a:r>
          </a:p>
          <a:p>
            <a:pPr marL="455613" lvl="1" indent="-257175" algn="l" defTabSz="823913" eaLnBrk="0" hangingPunct="0">
              <a:spcAft>
                <a:spcPts val="600"/>
              </a:spcAft>
              <a:buClr>
                <a:srgbClr val="000000"/>
              </a:buClr>
              <a:buFont typeface="Arial" charset="0"/>
              <a:buChar char="−"/>
              <a:defRPr/>
            </a:pPr>
            <a:r>
              <a:rPr lang="en-US" sz="1800" b="0" kern="0" dirty="0"/>
              <a:t>Looking for similar problems elsewhere and identifying and correcting </a:t>
            </a:r>
            <a:r>
              <a:rPr lang="en-US" sz="1800" b="0" kern="0" dirty="0" smtClean="0"/>
              <a:t>weaknesses</a:t>
            </a:r>
            <a:r>
              <a:rPr lang="en-US" sz="1800" dirty="0" smtClean="0">
                <a:latin typeface="+mn-lt"/>
              </a:rPr>
              <a:t> </a:t>
            </a:r>
          </a:p>
        </p:txBody>
      </p:sp>
      <p:sp>
        <p:nvSpPr>
          <p:cNvPr id="6" name="Rectangle 4"/>
          <p:cNvSpPr>
            <a:spLocks noGrp="1" noChangeArrowheads="1"/>
          </p:cNvSpPr>
          <p:nvPr>
            <p:ph type="title"/>
          </p:nvPr>
        </p:nvSpPr>
        <p:spPr>
          <a:xfrm>
            <a:off x="457201" y="396061"/>
            <a:ext cx="7772400" cy="343492"/>
          </a:xfrm>
        </p:spPr>
        <p:txBody>
          <a:bodyPr/>
          <a:lstStyle/>
          <a:p>
            <a:pPr eaLnBrk="1" hangingPunct="1"/>
            <a:r>
              <a:rPr lang="en-US" sz="2400" dirty="0"/>
              <a:t>Dealing with </a:t>
            </a:r>
            <a:r>
              <a:rPr lang="en-US" sz="2400" dirty="0" smtClean="0"/>
              <a:t>corruption allegations</a:t>
            </a:r>
            <a:endParaRPr lang="en-US" sz="2400" dirty="0"/>
          </a:p>
        </p:txBody>
      </p:sp>
    </p:spTree>
    <p:extLst>
      <p:ext uri="{BB962C8B-B14F-4D97-AF65-F5344CB8AC3E}">
        <p14:creationId xmlns:p14="http://schemas.microsoft.com/office/powerpoint/2010/main" val="262838952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What questions do you have?</a:t>
            </a:r>
            <a:endParaRPr lang="en-US" dirty="0"/>
          </a:p>
        </p:txBody>
      </p:sp>
    </p:spTree>
    <p:extLst>
      <p:ext uri="{BB962C8B-B14F-4D97-AF65-F5344CB8AC3E}">
        <p14:creationId xmlns:p14="http://schemas.microsoft.com/office/powerpoint/2010/main" val="3102800564"/>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a:xfrm>
            <a:off x="411479" y="1399029"/>
            <a:ext cx="6394566" cy="4887471"/>
          </a:xfrm>
        </p:spPr>
        <p:txBody>
          <a:bodyPr/>
          <a:lstStyle/>
          <a:p>
            <a:r>
              <a:rPr lang="en-US" sz="2000" b="1" dirty="0"/>
              <a:t>Mohammed </a:t>
            </a:r>
            <a:r>
              <a:rPr lang="en-US" sz="2000" b="1" dirty="0" smtClean="0"/>
              <a:t>Ahmed, CPA, CFF, CCEP</a:t>
            </a:r>
            <a:r>
              <a:rPr lang="en-US" sz="2000" b="1" dirty="0"/>
              <a:t/>
            </a:r>
            <a:br>
              <a:rPr lang="en-US" sz="2000" b="1" dirty="0"/>
            </a:br>
            <a:r>
              <a:rPr lang="en-US" sz="2000" dirty="0"/>
              <a:t>Senior Manager</a:t>
            </a:r>
            <a:br>
              <a:rPr lang="en-US" sz="2000" dirty="0"/>
            </a:br>
            <a:r>
              <a:rPr lang="en-US" sz="2000" dirty="0" smtClean="0"/>
              <a:t>Deloitte </a:t>
            </a:r>
            <a:r>
              <a:rPr lang="en-US" sz="2000" dirty="0"/>
              <a:t>Financial </a:t>
            </a:r>
            <a:r>
              <a:rPr lang="en-US" sz="2000" dirty="0" smtClean="0"/>
              <a:t>Advisory Services </a:t>
            </a:r>
            <a:r>
              <a:rPr lang="en-US" sz="2000" dirty="0"/>
              <a:t>LLP</a:t>
            </a:r>
            <a:br>
              <a:rPr lang="en-US" sz="2000" dirty="0"/>
            </a:br>
            <a:r>
              <a:rPr lang="en-US" sz="2000" dirty="0"/>
              <a:t>+1 212 436 4703</a:t>
            </a:r>
            <a:br>
              <a:rPr lang="en-US" sz="2000" dirty="0"/>
            </a:br>
            <a:r>
              <a:rPr lang="en-US" sz="2000" dirty="0">
                <a:hlinkClick r:id="rId3"/>
              </a:rPr>
              <a:t>mahmed@deloitte.com</a:t>
            </a:r>
            <a:r>
              <a:rPr lang="en-US" sz="2000" dirty="0"/>
              <a:t> </a:t>
            </a:r>
          </a:p>
          <a:p>
            <a:endParaRPr lang="en-US" dirty="0"/>
          </a:p>
        </p:txBody>
      </p:sp>
      <p:sp>
        <p:nvSpPr>
          <p:cNvPr id="3" name="Title 2"/>
          <p:cNvSpPr>
            <a:spLocks noGrp="1"/>
          </p:cNvSpPr>
          <p:nvPr>
            <p:ph type="title"/>
          </p:nvPr>
        </p:nvSpPr>
        <p:spPr>
          <a:xfrm>
            <a:off x="414338" y="446038"/>
            <a:ext cx="8330184" cy="333425"/>
          </a:xfrm>
        </p:spPr>
        <p:txBody>
          <a:bodyPr/>
          <a:lstStyle/>
          <a:p>
            <a:r>
              <a:rPr lang="en-US" sz="2400" dirty="0" smtClean="0"/>
              <a:t>Contact information</a:t>
            </a:r>
            <a:endParaRPr lang="en-US" sz="2400" dirty="0"/>
          </a:p>
        </p:txBody>
      </p:sp>
    </p:spTree>
    <p:extLst>
      <p:ext uri="{BB962C8B-B14F-4D97-AF65-F5344CB8AC3E}">
        <p14:creationId xmlns:p14="http://schemas.microsoft.com/office/powerpoint/2010/main" val="186995171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p:txBody>
          <a:bodyPr/>
          <a:lstStyle/>
          <a:p>
            <a:r>
              <a:rPr lang="en-US" dirty="0" smtClean="0"/>
              <a:t>This presentation contains general information only and is based on the experiences and research of Deloitte practitioners. Deloitte is not, by means of this presentation, rendering business, financial, investment, or other professional advice or services. This presentation is not a substitute for such professional advice or services, nor should it be used as a basis for any decision or action that may affect your business. Before making any decision or taking any action that may affect your business, you should consult a qualified professional advisor. Deloitte, its affiliates, and related entities shall not be responsible for any loss sustained by any person who relies on this presentation. Certain </a:t>
            </a:r>
            <a:r>
              <a:rPr lang="en-US" dirty="0"/>
              <a:t>services may not be available to attest clients under the rules and regulations of public accounting.</a:t>
            </a:r>
          </a:p>
          <a:p>
            <a:endParaRPr lang="en-US" dirty="0"/>
          </a:p>
          <a:p>
            <a:endParaRPr lang="en-US" dirty="0"/>
          </a:p>
        </p:txBody>
      </p:sp>
    </p:spTree>
    <p:extLst>
      <p:ext uri="{BB962C8B-B14F-4D97-AF65-F5344CB8AC3E}">
        <p14:creationId xmlns:p14="http://schemas.microsoft.com/office/powerpoint/2010/main" val="275174817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bwMode="gray">
          <a:xfrm>
            <a:off x="402336" y="5458968"/>
            <a:ext cx="5098578" cy="1152144"/>
          </a:xfrm>
        </p:spPr>
        <p:txBody>
          <a:bodyPr/>
          <a:lstStyle/>
          <a:p>
            <a:pPr lvl="0">
              <a:lnSpc>
                <a:spcPts val="900"/>
              </a:lnSpc>
            </a:pPr>
            <a:r>
              <a:rPr lang="en-US" b="1" dirty="0" smtClean="0"/>
              <a:t>About Deloitte</a:t>
            </a:r>
            <a:r>
              <a:rPr lang="en-US" dirty="0" smtClean="0"/>
              <a:t/>
            </a:r>
            <a:br>
              <a:rPr lang="en-US" dirty="0" smtClean="0"/>
            </a:br>
            <a:r>
              <a:rPr lang="en-US" dirty="0" smtClean="0"/>
              <a:t>Deloitte refers to one or more of Deloitte Touche Tohmatsu Limited, a UK private company limited by guarantee, and its network of member firms, each of which is a legally separate and independent entity. Please see </a:t>
            </a:r>
            <a:r>
              <a:rPr lang="en-US" dirty="0" smtClean="0">
                <a:hlinkClick r:id="rId3"/>
              </a:rPr>
              <a:t>www.deloitte.com/about</a:t>
            </a:r>
            <a:r>
              <a:rPr lang="en-US" dirty="0" smtClean="0"/>
              <a:t> for a detailed description of the legal structure of Deloitte Touche Tohmatsu Limited and its member firms. Please see </a:t>
            </a:r>
            <a:r>
              <a:rPr lang="en-US" dirty="0" smtClean="0">
                <a:hlinkClick r:id="rId4"/>
              </a:rPr>
              <a:t>www.deloitte.com/us/about</a:t>
            </a:r>
            <a:r>
              <a:rPr lang="en-US" dirty="0" smtClean="0"/>
              <a:t> for a detailed description of the legal structure of Deloitte LLP and its subsidiaries. Certain services may not be available to attest clients under the rules and regulations of public accounting. </a:t>
            </a:r>
            <a:br>
              <a:rPr lang="en-US" dirty="0" smtClean="0"/>
            </a:br>
            <a:r>
              <a:rPr lang="en-US" dirty="0" smtClean="0"/>
              <a:t/>
            </a:r>
            <a:br>
              <a:rPr lang="en-US" dirty="0" smtClean="0"/>
            </a:br>
            <a:r>
              <a:rPr lang="en-US" dirty="0" smtClean="0"/>
              <a:t>Copyright © 2012 Deloitte Development LLC. All rights reserved.</a:t>
            </a:r>
            <a:br>
              <a:rPr lang="en-US" dirty="0" smtClean="0"/>
            </a:br>
            <a:r>
              <a:rPr lang="en-US" dirty="0" smtClean="0"/>
              <a:t>Member of Deloitte Touche Tohmatsu Limited</a:t>
            </a:r>
            <a:endParaRPr lang="en-US" dirty="0"/>
          </a:p>
        </p:txBody>
      </p:sp>
    </p:spTree>
    <p:extLst>
      <p:ext uri="{BB962C8B-B14F-4D97-AF65-F5344CB8AC3E}">
        <p14:creationId xmlns:p14="http://schemas.microsoft.com/office/powerpoint/2010/main" val="312547320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1480" y="2144510"/>
            <a:ext cx="8330184" cy="1360372"/>
          </a:xfrm>
        </p:spPr>
        <p:txBody>
          <a:bodyPr/>
          <a:lstStyle/>
          <a:p>
            <a:r>
              <a:rPr lang="en-US" dirty="0"/>
              <a:t>Overview of FCPA and UK Bribery Act</a:t>
            </a:r>
          </a:p>
        </p:txBody>
      </p:sp>
    </p:spTree>
    <p:extLst>
      <p:ext uri="{BB962C8B-B14F-4D97-AF65-F5344CB8AC3E}">
        <p14:creationId xmlns:p14="http://schemas.microsoft.com/office/powerpoint/2010/main" val="3704225025"/>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a:xfrm>
            <a:off x="465339" y="323143"/>
            <a:ext cx="5692775" cy="343492"/>
          </a:xfrm>
          <a:ln>
            <a:solidFill>
              <a:schemeClr val="bg1"/>
            </a:solidFill>
          </a:ln>
        </p:spPr>
        <p:txBody>
          <a:bodyPr/>
          <a:lstStyle/>
          <a:p>
            <a:pPr eaLnBrk="1" hangingPunct="1"/>
            <a:r>
              <a:rPr lang="en-US" sz="2400" dirty="0" smtClean="0"/>
              <a:t>FCPA overview</a:t>
            </a:r>
            <a:endParaRPr lang="en-US" sz="2400" dirty="0"/>
          </a:p>
        </p:txBody>
      </p:sp>
      <p:sp>
        <p:nvSpPr>
          <p:cNvPr id="4" name="Content Placeholder 4"/>
          <p:cNvSpPr>
            <a:spLocks noGrp="1"/>
          </p:cNvSpPr>
          <p:nvPr>
            <p:ph sz="quarter" idx="4294967295"/>
          </p:nvPr>
        </p:nvSpPr>
        <p:spPr>
          <a:xfrm>
            <a:off x="411480" y="1005737"/>
            <a:ext cx="8330174" cy="4914091"/>
          </a:xfrm>
        </p:spPr>
        <p:txBody>
          <a:bodyPr lIns="91367" tIns="45683" rIns="91367" bIns="45683"/>
          <a:lstStyle/>
          <a:p>
            <a:pPr marL="0" lvl="1" indent="1588" defTabSz="913525">
              <a:buNone/>
              <a:defRPr/>
            </a:pPr>
            <a:r>
              <a:rPr sz="2000" dirty="0" smtClean="0">
                <a:cs typeface="+mn-cs"/>
              </a:rPr>
              <a:t>The FCPA is a US statute enacted in 1977 after Watergate and revelations of foreign bribery involving U.S. companies. Substantially amended in 1988 and 1998 (to expand law and bring FCPA into conformity with Organization for Economic Co-operation and Development (“OECD”) Convention).</a:t>
            </a:r>
          </a:p>
          <a:p>
            <a:pPr marL="0" lvl="1" indent="1588" defTabSz="913525">
              <a:buNone/>
              <a:defRPr/>
            </a:pPr>
            <a:endParaRPr sz="2000" dirty="0"/>
          </a:p>
          <a:p>
            <a:pPr marL="0" lvl="1" indent="1588" defTabSz="913525">
              <a:buNone/>
              <a:defRPr/>
            </a:pPr>
            <a:r>
              <a:rPr sz="2000" dirty="0"/>
              <a:t>The FCPA has two provisions:</a:t>
            </a:r>
          </a:p>
          <a:p>
            <a:pPr marL="456834" lvl="1" indent="-220488" defTabSz="913525">
              <a:defRPr/>
            </a:pPr>
            <a:r>
              <a:rPr sz="2000" dirty="0"/>
              <a:t>The </a:t>
            </a:r>
            <a:r>
              <a:rPr sz="2000" b="1" dirty="0" smtClean="0">
                <a:solidFill>
                  <a:srgbClr val="92D050"/>
                </a:solidFill>
              </a:rPr>
              <a:t>Anti-Bribery </a:t>
            </a:r>
            <a:r>
              <a:rPr sz="2000" b="1" dirty="0">
                <a:solidFill>
                  <a:srgbClr val="92D050"/>
                </a:solidFill>
              </a:rPr>
              <a:t>provision </a:t>
            </a:r>
            <a:r>
              <a:rPr sz="2000" dirty="0"/>
              <a:t>states: “A company cannot corruptly make an offer, promise, or payment of ‘anything of value’ to a ‘foreign government official’ or politician for the ‘purpose of influencing his or her official actions’ for the advantage of the company.” (17 U.S.C § 78dd-1 et seq.)</a:t>
            </a:r>
          </a:p>
          <a:p>
            <a:pPr marL="456834" lvl="1" indent="-220488" defTabSz="913525">
              <a:defRPr/>
            </a:pPr>
            <a:r>
              <a:rPr sz="2000" dirty="0"/>
              <a:t>The </a:t>
            </a:r>
            <a:r>
              <a:rPr sz="2000" b="1" dirty="0">
                <a:solidFill>
                  <a:srgbClr val="92D050"/>
                </a:solidFill>
              </a:rPr>
              <a:t>Books and Records provision </a:t>
            </a:r>
            <a:r>
              <a:rPr sz="2000" dirty="0"/>
              <a:t>requires companies who file reports with the SEC to maintain accurate books and records and also to maintain an adequate system of internal controls.</a:t>
            </a:r>
          </a:p>
        </p:txBody>
      </p:sp>
    </p:spTree>
    <p:extLst>
      <p:ext uri="{BB962C8B-B14F-4D97-AF65-F5344CB8AC3E}">
        <p14:creationId xmlns:p14="http://schemas.microsoft.com/office/powerpoint/2010/main" val="71300271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a:xfrm>
            <a:off x="465339" y="323143"/>
            <a:ext cx="5692775" cy="343492"/>
          </a:xfrm>
          <a:ln>
            <a:solidFill>
              <a:schemeClr val="bg1"/>
            </a:solidFill>
          </a:ln>
        </p:spPr>
        <p:txBody>
          <a:bodyPr/>
          <a:lstStyle/>
          <a:p>
            <a:pPr eaLnBrk="1" hangingPunct="1"/>
            <a:r>
              <a:rPr lang="en-US" sz="2400" dirty="0" smtClean="0"/>
              <a:t>FCPA </a:t>
            </a:r>
            <a:r>
              <a:rPr lang="en-US" sz="2400" dirty="0"/>
              <a:t>overview (cont.)</a:t>
            </a:r>
          </a:p>
        </p:txBody>
      </p:sp>
      <p:sp>
        <p:nvSpPr>
          <p:cNvPr id="4" name="Content Placeholder 4"/>
          <p:cNvSpPr>
            <a:spLocks noGrp="1"/>
          </p:cNvSpPr>
          <p:nvPr>
            <p:ph sz="quarter" idx="4294967295"/>
          </p:nvPr>
        </p:nvSpPr>
        <p:spPr>
          <a:xfrm>
            <a:off x="425127" y="951146"/>
            <a:ext cx="8330174" cy="4975646"/>
          </a:xfrm>
        </p:spPr>
        <p:txBody>
          <a:bodyPr lIns="91367" tIns="45683" rIns="91367" bIns="45683"/>
          <a:lstStyle/>
          <a:p>
            <a:r>
              <a:rPr lang="en-US" sz="2000" b="1" dirty="0"/>
              <a:t>What is “anything of value”?</a:t>
            </a:r>
          </a:p>
          <a:p>
            <a:pPr lvl="1"/>
            <a:r>
              <a:rPr lang="en-US" sz="2000" dirty="0"/>
              <a:t>Some examples include:</a:t>
            </a:r>
          </a:p>
          <a:p>
            <a:pPr lvl="2"/>
            <a:r>
              <a:rPr lang="en-US" sz="1800" dirty="0"/>
              <a:t>Cash or a cash equivalent</a:t>
            </a:r>
          </a:p>
          <a:p>
            <a:pPr lvl="2"/>
            <a:r>
              <a:rPr lang="es-ES_tradnl" sz="1800" dirty="0"/>
              <a:t>Donations</a:t>
            </a:r>
            <a:endParaRPr lang="en-US" sz="1800" dirty="0"/>
          </a:p>
          <a:p>
            <a:pPr lvl="2"/>
            <a:r>
              <a:rPr lang="en-US" sz="1800" dirty="0"/>
              <a:t>Travel expenses</a:t>
            </a:r>
          </a:p>
          <a:p>
            <a:pPr lvl="2"/>
            <a:r>
              <a:rPr lang="en-US" sz="1800" dirty="0"/>
              <a:t>Gifts</a:t>
            </a:r>
          </a:p>
          <a:p>
            <a:pPr lvl="2"/>
            <a:r>
              <a:rPr lang="es-ES_tradnl" sz="1800" dirty="0"/>
              <a:t>Favorable real estate deals (leases/sales)</a:t>
            </a:r>
          </a:p>
          <a:p>
            <a:pPr lvl="2"/>
            <a:r>
              <a:rPr lang="es-ES_tradnl" sz="1800" dirty="0"/>
              <a:t>Internships and/or direct employment for relatives of foreign officials</a:t>
            </a:r>
            <a:endParaRPr lang="en-US" sz="1800" dirty="0"/>
          </a:p>
          <a:p>
            <a:pPr lvl="2"/>
            <a:r>
              <a:rPr lang="en-US" sz="1800" dirty="0"/>
              <a:t>Sports outings or other entertainment unrelated to customary entertainment connected with a particular deal or contract </a:t>
            </a:r>
          </a:p>
          <a:p>
            <a:pPr lvl="2"/>
            <a:r>
              <a:rPr lang="en-US" sz="1800" dirty="0"/>
              <a:t>Loans </a:t>
            </a:r>
          </a:p>
          <a:p>
            <a:pPr lvl="2"/>
            <a:r>
              <a:rPr lang="en-US" sz="1800" dirty="0"/>
              <a:t>Business opportunities</a:t>
            </a:r>
          </a:p>
          <a:p>
            <a:pPr lvl="2"/>
            <a:r>
              <a:rPr lang="en-US" sz="1800" dirty="0"/>
              <a:t>Providing financial products at discounted rates</a:t>
            </a:r>
          </a:p>
          <a:p>
            <a:pPr lvl="2"/>
            <a:r>
              <a:rPr lang="en-US" sz="1800" dirty="0"/>
              <a:t>Assisting with medical care (e.g., referrals or prescriptions)</a:t>
            </a:r>
          </a:p>
          <a:p>
            <a:pPr marL="236346" lvl="1" indent="0" defTabSz="913525">
              <a:buNone/>
              <a:defRPr/>
            </a:pPr>
            <a:endParaRPr sz="1800" dirty="0"/>
          </a:p>
        </p:txBody>
      </p:sp>
    </p:spTree>
    <p:extLst>
      <p:ext uri="{BB962C8B-B14F-4D97-AF65-F5344CB8AC3E}">
        <p14:creationId xmlns:p14="http://schemas.microsoft.com/office/powerpoint/2010/main" val="263498417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a:xfrm>
            <a:off x="465339" y="323143"/>
            <a:ext cx="5692775" cy="343492"/>
          </a:xfrm>
          <a:ln>
            <a:solidFill>
              <a:schemeClr val="bg1"/>
            </a:solidFill>
          </a:ln>
        </p:spPr>
        <p:txBody>
          <a:bodyPr/>
          <a:lstStyle/>
          <a:p>
            <a:pPr eaLnBrk="1" hangingPunct="1"/>
            <a:r>
              <a:rPr lang="en-US" sz="2400" dirty="0" smtClean="0"/>
              <a:t>FCPA </a:t>
            </a:r>
            <a:r>
              <a:rPr lang="en-US" sz="2400" dirty="0"/>
              <a:t>overview (cont.)</a:t>
            </a:r>
          </a:p>
        </p:txBody>
      </p:sp>
      <p:sp>
        <p:nvSpPr>
          <p:cNvPr id="4" name="Content Placeholder 4"/>
          <p:cNvSpPr>
            <a:spLocks noGrp="1"/>
          </p:cNvSpPr>
          <p:nvPr>
            <p:ph sz="quarter" idx="4294967295"/>
          </p:nvPr>
        </p:nvSpPr>
        <p:spPr>
          <a:xfrm>
            <a:off x="395714" y="938204"/>
            <a:ext cx="8330174" cy="5667548"/>
          </a:xfrm>
        </p:spPr>
        <p:txBody>
          <a:bodyPr lIns="91367" tIns="45683" rIns="91367" bIns="45683"/>
          <a:lstStyle/>
          <a:p>
            <a:pPr lvl="0" eaLnBrk="1" hangingPunct="1"/>
            <a:r>
              <a:rPr lang="en-US" sz="2000" b="1" dirty="0">
                <a:solidFill>
                  <a:srgbClr val="002776"/>
                </a:solidFill>
              </a:rPr>
              <a:t>What is meant by “foreign official”?</a:t>
            </a:r>
          </a:p>
          <a:p>
            <a:pPr marL="174625" lvl="1" indent="-173038" eaLnBrk="1" hangingPunct="1">
              <a:spcBef>
                <a:spcPts val="500"/>
              </a:spcBef>
              <a:buFont typeface="Arial" pitchFamily="34" charset="0"/>
              <a:buChar char="•"/>
            </a:pPr>
            <a:r>
              <a:rPr lang="en-US" sz="1800" dirty="0">
                <a:solidFill>
                  <a:srgbClr val="002776"/>
                </a:solidFill>
              </a:rPr>
              <a:t>Any officer or employee of a non-U.S. government or any department, agency, or instrumentality thereof. </a:t>
            </a:r>
          </a:p>
          <a:p>
            <a:pPr marL="174625" lvl="1" indent="-173038" eaLnBrk="1" hangingPunct="1">
              <a:spcBef>
                <a:spcPts val="500"/>
              </a:spcBef>
              <a:buFont typeface="Arial" pitchFamily="34" charset="0"/>
              <a:buChar char="•"/>
            </a:pPr>
            <a:r>
              <a:rPr lang="en-US" sz="1800" dirty="0">
                <a:solidFill>
                  <a:srgbClr val="002776"/>
                </a:solidFill>
              </a:rPr>
              <a:t>Any political party, party official, or candidate for political office.</a:t>
            </a:r>
          </a:p>
          <a:p>
            <a:pPr marL="174625" lvl="1" indent="-173038" eaLnBrk="1" hangingPunct="1">
              <a:spcBef>
                <a:spcPts val="500"/>
              </a:spcBef>
              <a:buFont typeface="Arial" pitchFamily="34" charset="0"/>
              <a:buChar char="•"/>
            </a:pPr>
            <a:r>
              <a:rPr lang="en-US" sz="1800" dirty="0">
                <a:solidFill>
                  <a:srgbClr val="002776"/>
                </a:solidFill>
              </a:rPr>
              <a:t>Officials or employees of </a:t>
            </a:r>
            <a:r>
              <a:rPr lang="en-US" sz="1800" i="1" dirty="0">
                <a:solidFill>
                  <a:srgbClr val="002776"/>
                </a:solidFill>
              </a:rPr>
              <a:t>public international organizations — </a:t>
            </a:r>
            <a:r>
              <a:rPr lang="en-US" sz="1800" dirty="0">
                <a:solidFill>
                  <a:srgbClr val="002776"/>
                </a:solidFill>
              </a:rPr>
              <a:t>defined as organizations that have been designated as such by executive order of the President, such as the World Bank, IMF, and the United Nations.</a:t>
            </a:r>
          </a:p>
          <a:p>
            <a:pPr marL="174625" lvl="1" indent="-173038" eaLnBrk="1" hangingPunct="1">
              <a:spcBef>
                <a:spcPts val="500"/>
              </a:spcBef>
              <a:buFont typeface="Arial" pitchFamily="34" charset="0"/>
              <a:buChar char="•"/>
            </a:pPr>
            <a:r>
              <a:rPr lang="en-US" sz="1800" dirty="0">
                <a:solidFill>
                  <a:srgbClr val="002776"/>
                </a:solidFill>
              </a:rPr>
              <a:t>Any person acting in an official capacity for or on behalf of any such entity, including members of royal families, officers </a:t>
            </a:r>
            <a:r>
              <a:rPr lang="en-US" sz="1800" b="1" u="sng" dirty="0">
                <a:solidFill>
                  <a:srgbClr val="002776"/>
                </a:solidFill>
              </a:rPr>
              <a:t>and employees of state-owned enterprises, </a:t>
            </a:r>
            <a:r>
              <a:rPr lang="en-US" sz="1800" dirty="0">
                <a:solidFill>
                  <a:srgbClr val="002776"/>
                </a:solidFill>
              </a:rPr>
              <a:t>or anyone who exercises official authority.</a:t>
            </a:r>
          </a:p>
          <a:p>
            <a:pPr lvl="0" eaLnBrk="1" hangingPunct="1"/>
            <a:r>
              <a:rPr lang="en-US" sz="2000" b="1" dirty="0">
                <a:solidFill>
                  <a:srgbClr val="002776"/>
                </a:solidFill>
              </a:rPr>
              <a:t>How does the FCPA apply to “third parties”?</a:t>
            </a:r>
          </a:p>
          <a:p>
            <a:pPr marL="174625" lvl="1" indent="-173038" eaLnBrk="1" hangingPunct="1">
              <a:spcBef>
                <a:spcPts val="500"/>
              </a:spcBef>
              <a:buFont typeface="Arial" pitchFamily="34" charset="0"/>
              <a:buChar char="•"/>
            </a:pPr>
            <a:r>
              <a:rPr lang="en-US" sz="1800" dirty="0">
                <a:solidFill>
                  <a:srgbClr val="002776"/>
                </a:solidFill>
              </a:rPr>
              <a:t>The FCPA also prohibits payments to third parties, such as consultants and representatives, “while knowing” that all or part of the payment will be given to a foreign official.</a:t>
            </a:r>
          </a:p>
          <a:p>
            <a:pPr marL="174625" lvl="1" indent="-173038" eaLnBrk="1" hangingPunct="1">
              <a:spcBef>
                <a:spcPts val="500"/>
              </a:spcBef>
              <a:buFont typeface="Arial" pitchFamily="34" charset="0"/>
              <a:buChar char="•"/>
            </a:pPr>
            <a:r>
              <a:rPr lang="en-US" sz="1800" dirty="0">
                <a:solidFill>
                  <a:srgbClr val="002776"/>
                </a:solidFill>
              </a:rPr>
              <a:t>The knowledge standard is very broad, and liability can be based on conscious disregard, willful blindness or deliberate ignorance of facts putting you on notice that your agent may commit a violation.</a:t>
            </a:r>
          </a:p>
          <a:p>
            <a:pPr marL="236346" lvl="1" indent="0" defTabSz="913525">
              <a:buNone/>
              <a:defRPr/>
            </a:pPr>
            <a:endParaRPr sz="1800" dirty="0"/>
          </a:p>
        </p:txBody>
      </p:sp>
    </p:spTree>
    <p:extLst>
      <p:ext uri="{BB962C8B-B14F-4D97-AF65-F5344CB8AC3E}">
        <p14:creationId xmlns:p14="http://schemas.microsoft.com/office/powerpoint/2010/main" val="126688651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a:xfrm>
            <a:off x="421079" y="387720"/>
            <a:ext cx="8421080" cy="343492"/>
          </a:xfrm>
        </p:spPr>
        <p:txBody>
          <a:bodyPr/>
          <a:lstStyle/>
          <a:p>
            <a:r>
              <a:rPr lang="en-US" sz="2400" dirty="0"/>
              <a:t>FCPA </a:t>
            </a:r>
            <a:r>
              <a:rPr lang="en-US" sz="2400" dirty="0" smtClean="0"/>
              <a:t>books </a:t>
            </a:r>
            <a:r>
              <a:rPr lang="en-US" sz="2400" dirty="0"/>
              <a:t>and r</a:t>
            </a:r>
            <a:r>
              <a:rPr lang="en-US" sz="2400" dirty="0" smtClean="0"/>
              <a:t>ecords </a:t>
            </a:r>
            <a:r>
              <a:rPr lang="en-US" sz="2400" dirty="0"/>
              <a:t>p</a:t>
            </a:r>
            <a:r>
              <a:rPr lang="en-US" sz="2400" dirty="0" smtClean="0"/>
              <a:t>rovision</a:t>
            </a:r>
            <a:endParaRPr lang="en-US" sz="2400" dirty="0"/>
          </a:p>
        </p:txBody>
      </p:sp>
      <p:sp>
        <p:nvSpPr>
          <p:cNvPr id="7" name="Content Placeholder 3"/>
          <p:cNvSpPr>
            <a:spLocks noGrp="1"/>
          </p:cNvSpPr>
          <p:nvPr>
            <p:ph sz="half" idx="4294967295"/>
          </p:nvPr>
        </p:nvSpPr>
        <p:spPr>
          <a:xfrm>
            <a:off x="448931" y="1024545"/>
            <a:ext cx="8244693" cy="4483279"/>
          </a:xfrm>
        </p:spPr>
        <p:txBody>
          <a:bodyPr/>
          <a:lstStyle/>
          <a:p>
            <a:r>
              <a:rPr lang="en-US" sz="2000" dirty="0" smtClean="0">
                <a:solidFill>
                  <a:schemeClr val="tx1"/>
                </a:solidFill>
              </a:rPr>
              <a:t>The </a:t>
            </a:r>
            <a:r>
              <a:rPr lang="en-US" sz="2000" b="1" dirty="0">
                <a:solidFill>
                  <a:schemeClr val="tx1"/>
                </a:solidFill>
              </a:rPr>
              <a:t>b</a:t>
            </a:r>
            <a:r>
              <a:rPr lang="en-US" sz="2000" b="1" dirty="0" smtClean="0">
                <a:solidFill>
                  <a:schemeClr val="tx1"/>
                </a:solidFill>
              </a:rPr>
              <a:t>ooks and records provision </a:t>
            </a:r>
            <a:r>
              <a:rPr lang="en-US" sz="2000" dirty="0" smtClean="0">
                <a:solidFill>
                  <a:schemeClr val="tx1"/>
                </a:solidFill>
              </a:rPr>
              <a:t>require companies who file reports with the SEC to maintain records that accurately reflect transactions and the nature and quantity of corporate assets and liabilities.</a:t>
            </a:r>
          </a:p>
          <a:p>
            <a:pPr marL="230737" lvl="1">
              <a:spcBef>
                <a:spcPts val="505"/>
              </a:spcBef>
              <a:buFont typeface="Arial" charset="0"/>
              <a:buChar char="•"/>
            </a:pPr>
            <a:r>
              <a:rPr lang="en-US" sz="2000" dirty="0" smtClean="0">
                <a:solidFill>
                  <a:schemeClr val="tx1"/>
                </a:solidFill>
                <a:cs typeface="Arial" pitchFamily="34" charset="0"/>
              </a:rPr>
              <a:t>FCPA books and records focus is on:</a:t>
            </a:r>
          </a:p>
          <a:p>
            <a:pPr marL="800103" lvl="2" indent="-342900">
              <a:spcBef>
                <a:spcPts val="505"/>
              </a:spcBef>
              <a:buClr>
                <a:srgbClr val="002776"/>
              </a:buClr>
              <a:buFont typeface="Arial" pitchFamily="34" charset="0"/>
              <a:buChar char="‒"/>
            </a:pPr>
            <a:r>
              <a:rPr lang="en-US" sz="1800" dirty="0" smtClean="0">
                <a:solidFill>
                  <a:schemeClr val="tx1"/>
                </a:solidFill>
                <a:cs typeface="Arial" pitchFamily="34" charset="0"/>
              </a:rPr>
              <a:t>How the “bribe” is recorded on the books;</a:t>
            </a:r>
          </a:p>
          <a:p>
            <a:pPr marL="800103" lvl="2" indent="-342900">
              <a:spcBef>
                <a:spcPts val="505"/>
              </a:spcBef>
              <a:buClr>
                <a:srgbClr val="002776"/>
              </a:buClr>
              <a:buFont typeface="Arial" pitchFamily="34" charset="0"/>
              <a:buChar char="‒"/>
            </a:pPr>
            <a:r>
              <a:rPr lang="en-US" sz="1800" dirty="0" smtClean="0">
                <a:solidFill>
                  <a:schemeClr val="tx1"/>
                </a:solidFill>
                <a:cs typeface="Arial" pitchFamily="34" charset="0"/>
              </a:rPr>
              <a:t>G/L classification for payment;</a:t>
            </a:r>
          </a:p>
          <a:p>
            <a:pPr marL="800103" lvl="2" indent="-342900">
              <a:spcBef>
                <a:spcPts val="505"/>
              </a:spcBef>
              <a:buClr>
                <a:srgbClr val="002776"/>
              </a:buClr>
              <a:buFont typeface="Arial" pitchFamily="34" charset="0"/>
              <a:buChar char="‒"/>
            </a:pPr>
            <a:r>
              <a:rPr lang="en-US" sz="1800" dirty="0" smtClean="0">
                <a:solidFill>
                  <a:schemeClr val="tx1"/>
                </a:solidFill>
                <a:cs typeface="Arial" pitchFamily="34" charset="0"/>
              </a:rPr>
              <a:t>Business purpose reflected in underlying business records;</a:t>
            </a:r>
          </a:p>
          <a:p>
            <a:pPr marL="230737" lvl="1">
              <a:spcBef>
                <a:spcPts val="505"/>
              </a:spcBef>
              <a:buFont typeface="Arial" charset="0"/>
              <a:buChar char="•"/>
            </a:pPr>
            <a:r>
              <a:rPr lang="en-US" sz="2000" dirty="0">
                <a:solidFill>
                  <a:schemeClr val="tx1"/>
                </a:solidFill>
              </a:rPr>
              <a:t>Applies even if parent owns less than 50% of a subsidiary</a:t>
            </a:r>
          </a:p>
          <a:p>
            <a:pPr marL="800103" lvl="2" indent="-342900">
              <a:spcBef>
                <a:spcPts val="505"/>
              </a:spcBef>
              <a:buClr>
                <a:srgbClr val="002776"/>
              </a:buClr>
              <a:buFont typeface="Arial" pitchFamily="34" charset="0"/>
              <a:buChar char="‒"/>
            </a:pPr>
            <a:r>
              <a:rPr lang="en-US" sz="1800" dirty="0" smtClean="0">
                <a:solidFill>
                  <a:schemeClr val="tx1"/>
                </a:solidFill>
                <a:cs typeface="Arial" pitchFamily="34" charset="0"/>
              </a:rPr>
              <a:t>Good faith requirement </a:t>
            </a:r>
          </a:p>
          <a:p>
            <a:pPr marL="230737" lvl="1">
              <a:spcBef>
                <a:spcPts val="505"/>
              </a:spcBef>
            </a:pPr>
            <a:r>
              <a:rPr lang="en-US" sz="2000" dirty="0">
                <a:solidFill>
                  <a:schemeClr val="tx1"/>
                </a:solidFill>
              </a:rPr>
              <a:t>Amounts need not be material to constitute violations of the FCPA</a:t>
            </a:r>
          </a:p>
          <a:p>
            <a:pPr marL="230737" lvl="1">
              <a:spcBef>
                <a:spcPts val="505"/>
              </a:spcBef>
            </a:pPr>
            <a:endParaRPr lang="en-US" sz="1600" dirty="0" smtClean="0">
              <a:solidFill>
                <a:schemeClr val="tx1"/>
              </a:solidFill>
            </a:endParaRPr>
          </a:p>
        </p:txBody>
      </p:sp>
    </p:spTree>
    <p:extLst>
      <p:ext uri="{BB962C8B-B14F-4D97-AF65-F5344CB8AC3E}">
        <p14:creationId xmlns:p14="http://schemas.microsoft.com/office/powerpoint/2010/main" val="124824640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Rectangle 5"/>
          <p:cNvSpPr>
            <a:spLocks noGrp="1" noChangeArrowheads="1"/>
          </p:cNvSpPr>
          <p:nvPr>
            <p:ph type="title"/>
          </p:nvPr>
        </p:nvSpPr>
        <p:spPr>
          <a:xfrm>
            <a:off x="441141" y="358035"/>
            <a:ext cx="7405687" cy="343492"/>
          </a:xfrm>
        </p:spPr>
        <p:txBody>
          <a:bodyPr/>
          <a:lstStyle/>
          <a:p>
            <a:pPr eaLnBrk="1" hangingPunct="1"/>
            <a:r>
              <a:rPr lang="en-US" sz="2400" dirty="0"/>
              <a:t>Apparent regulatory focus</a:t>
            </a:r>
          </a:p>
        </p:txBody>
      </p:sp>
      <p:sp>
        <p:nvSpPr>
          <p:cNvPr id="4" name="Content Placeholder 6"/>
          <p:cNvSpPr>
            <a:spLocks noGrp="1"/>
          </p:cNvSpPr>
          <p:nvPr>
            <p:ph sz="quarter" idx="4294967295"/>
          </p:nvPr>
        </p:nvSpPr>
        <p:spPr>
          <a:xfrm>
            <a:off x="450376" y="994658"/>
            <a:ext cx="8270543" cy="5027017"/>
          </a:xfrm>
          <a:prstGeom prst="rect">
            <a:avLst/>
          </a:prstGeom>
        </p:spPr>
        <p:txBody>
          <a:bodyPr wrap="square">
            <a:spAutoFit/>
          </a:bodyPr>
          <a:lstStyle/>
          <a:p>
            <a:pPr lvl="1"/>
            <a:r>
              <a:rPr lang="en-US" sz="2000" dirty="0">
                <a:solidFill>
                  <a:schemeClr val="tx1"/>
                </a:solidFill>
              </a:rPr>
              <a:t>The SEC and DOJ’s FCPA recent activities include scrutiny of asset management </a:t>
            </a:r>
            <a:r>
              <a:rPr lang="en-US" sz="2000" dirty="0"/>
              <a:t>including industry-wide sweeps</a:t>
            </a:r>
          </a:p>
          <a:p>
            <a:pPr lvl="1"/>
            <a:r>
              <a:rPr lang="en-US" sz="2000" dirty="0">
                <a:solidFill>
                  <a:schemeClr val="tx1"/>
                </a:solidFill>
              </a:rPr>
              <a:t>Areas of regulatory emphasis include due diligence on source of assets under management.</a:t>
            </a:r>
            <a:endParaRPr lang="en-US" sz="2000" strike="sngStrike" dirty="0">
              <a:solidFill>
                <a:schemeClr val="tx1"/>
              </a:solidFill>
            </a:endParaRPr>
          </a:p>
          <a:p>
            <a:pPr lvl="1"/>
            <a:r>
              <a:rPr lang="en-US" sz="2000" dirty="0"/>
              <a:t>Failure of private equity firms and venture capital firms to conduct FCPA due diligence regarding: portfolio companies, acquisitions/divestitures, joint ventures or other investments</a:t>
            </a:r>
          </a:p>
          <a:p>
            <a:pPr lvl="1"/>
            <a:r>
              <a:rPr lang="en-US" sz="2000" dirty="0"/>
              <a:t>Transactions with Sovereign Wealth Funds and foreign pension assets</a:t>
            </a:r>
          </a:p>
          <a:p>
            <a:pPr lvl="1"/>
            <a:r>
              <a:rPr lang="en-US" sz="2000" dirty="0"/>
              <a:t>Multi-jurisdictional investigations</a:t>
            </a:r>
          </a:p>
          <a:p>
            <a:pPr lvl="1"/>
            <a:r>
              <a:rPr lang="en-US" sz="2000" dirty="0"/>
              <a:t>More criminal prosecutions of and enforcement actions against individuals</a:t>
            </a:r>
          </a:p>
          <a:p>
            <a:pPr lvl="1"/>
            <a:r>
              <a:rPr lang="en-US" sz="2000" dirty="0"/>
              <a:t>Whistleblower incentives under Dodd-Frank</a:t>
            </a:r>
          </a:p>
          <a:p>
            <a:pPr lvl="1"/>
            <a:r>
              <a:rPr lang="en-US" sz="2000" dirty="0"/>
              <a:t>Inadequate FCPA compliance procedures and controls</a:t>
            </a:r>
          </a:p>
          <a:p>
            <a:pPr lvl="1"/>
            <a:r>
              <a:rPr lang="en-US" sz="2000" dirty="0"/>
              <a:t>Superficial or nonexistent due diligence in retaining agents and consultants</a:t>
            </a:r>
          </a:p>
        </p:txBody>
      </p:sp>
    </p:spTree>
    <p:extLst>
      <p:ext uri="{BB962C8B-B14F-4D97-AF65-F5344CB8AC3E}">
        <p14:creationId xmlns:p14="http://schemas.microsoft.com/office/powerpoint/2010/main" val="191913771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Rectangle 5"/>
          <p:cNvSpPr>
            <a:spLocks noGrp="1" noChangeArrowheads="1"/>
          </p:cNvSpPr>
          <p:nvPr>
            <p:ph type="title"/>
          </p:nvPr>
        </p:nvSpPr>
        <p:spPr>
          <a:xfrm>
            <a:off x="441141" y="368102"/>
            <a:ext cx="7405687" cy="333425"/>
          </a:xfrm>
        </p:spPr>
        <p:txBody>
          <a:bodyPr/>
          <a:lstStyle/>
          <a:p>
            <a:pPr eaLnBrk="1" hangingPunct="1"/>
            <a:r>
              <a:rPr lang="en-US" sz="2400" dirty="0" smtClean="0"/>
              <a:t>U.K. </a:t>
            </a:r>
            <a:r>
              <a:rPr lang="en-US" sz="2400" dirty="0"/>
              <a:t>Bribery Act</a:t>
            </a:r>
          </a:p>
        </p:txBody>
      </p:sp>
      <p:sp>
        <p:nvSpPr>
          <p:cNvPr id="4" name="Content Placeholder 6"/>
          <p:cNvSpPr>
            <a:spLocks noGrp="1"/>
          </p:cNvSpPr>
          <p:nvPr>
            <p:ph sz="quarter" idx="4294967295"/>
          </p:nvPr>
        </p:nvSpPr>
        <p:spPr>
          <a:xfrm>
            <a:off x="450376" y="994658"/>
            <a:ext cx="8270543" cy="3836948"/>
          </a:xfrm>
          <a:prstGeom prst="rect">
            <a:avLst/>
          </a:prstGeom>
        </p:spPr>
        <p:txBody>
          <a:bodyPr wrap="square">
            <a:spAutoFit/>
          </a:bodyPr>
          <a:lstStyle/>
          <a:p>
            <a:pPr lvl="1">
              <a:buFont typeface="Arial" charset="0"/>
              <a:buChar char="•"/>
            </a:pPr>
            <a:r>
              <a:rPr sz="2000" dirty="0">
                <a:cs typeface="Arial" charset="0"/>
              </a:rPr>
              <a:t>On July 1, 2011, the UK Bribery Act comes into force and brings with it the most stringent anti-bribery regime in the </a:t>
            </a:r>
            <a:r>
              <a:rPr sz="2000" dirty="0" smtClean="0">
                <a:cs typeface="Arial" charset="0"/>
              </a:rPr>
              <a:t>world</a:t>
            </a:r>
            <a:endParaRPr sz="2000" dirty="0">
              <a:cs typeface="Arial" charset="0"/>
            </a:endParaRPr>
          </a:p>
          <a:p>
            <a:pPr lvl="1">
              <a:buFont typeface="Arial" charset="0"/>
              <a:buChar char="•"/>
            </a:pPr>
            <a:r>
              <a:rPr sz="2000" dirty="0">
                <a:cs typeface="Arial" charset="0"/>
              </a:rPr>
              <a:t>Alongside offences for payment and receipt of bribes and for bribery of a foreign public official is a further strict liability corporate </a:t>
            </a:r>
            <a:r>
              <a:rPr sz="2000" dirty="0" smtClean="0">
                <a:cs typeface="Arial" charset="0"/>
              </a:rPr>
              <a:t>offense:</a:t>
            </a:r>
            <a:endParaRPr lang="en-GB" sz="2000" dirty="0">
              <a:cs typeface="Arial" charset="0"/>
            </a:endParaRPr>
          </a:p>
          <a:p>
            <a:pPr lvl="2">
              <a:buFont typeface="Arial" charset="0"/>
              <a:buChar char="–"/>
            </a:pPr>
            <a:r>
              <a:rPr lang="en-GB" sz="1800" dirty="0">
                <a:cs typeface="Arial" charset="0"/>
              </a:rPr>
              <a:t>Failure by a commercial </a:t>
            </a:r>
            <a:r>
              <a:rPr lang="en-GB" sz="1800" dirty="0" smtClean="0">
                <a:cs typeface="Arial" charset="0"/>
              </a:rPr>
              <a:t>organization </a:t>
            </a:r>
            <a:r>
              <a:rPr lang="en-GB" sz="1800" dirty="0">
                <a:cs typeface="Arial" charset="0"/>
              </a:rPr>
              <a:t>to prevent a bribe being paid by those who perform services for or on behalf of the </a:t>
            </a:r>
            <a:r>
              <a:rPr lang="en-GB" sz="1800" dirty="0" smtClean="0">
                <a:cs typeface="Arial" charset="0"/>
              </a:rPr>
              <a:t>organization</a:t>
            </a:r>
            <a:endParaRPr sz="2000" dirty="0">
              <a:cs typeface="Arial" charset="0"/>
            </a:endParaRPr>
          </a:p>
          <a:p>
            <a:pPr lvl="1"/>
            <a:r>
              <a:rPr lang="en-US" sz="2000" dirty="0" smtClean="0">
                <a:cs typeface="Arial" charset="0"/>
              </a:rPr>
              <a:t>The only defense for an organization is to have adequate procedures in place to prevent a bribe being paid </a:t>
            </a:r>
            <a:endParaRPr sz="2000" dirty="0">
              <a:cs typeface="Arial" charset="0"/>
            </a:endParaRPr>
          </a:p>
          <a:p>
            <a:pPr lvl="1">
              <a:buFont typeface="Arial" charset="0"/>
              <a:buChar char="•"/>
            </a:pPr>
            <a:r>
              <a:rPr sz="2000" dirty="0">
                <a:cs typeface="Arial" charset="0"/>
              </a:rPr>
              <a:t>March 30, 2011, U.K. Ministry of Justice released its Guidance on procedures which relevant commercial organizations can put into place to prevent persons associated with them from bribing (section 9 of the Bribery Act 2010).</a:t>
            </a:r>
          </a:p>
        </p:txBody>
      </p:sp>
    </p:spTree>
    <p:extLst>
      <p:ext uri="{BB962C8B-B14F-4D97-AF65-F5344CB8AC3E}">
        <p14:creationId xmlns:p14="http://schemas.microsoft.com/office/powerpoint/2010/main" val="330569007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oxn2WeqkU.r3tCIjT1.P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yYdIdqDxkiY1CzSfJtC9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SGDDuAxCpUiGQTflEHFbC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0WhFO.81NEueFCFtvovOm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paDhfEU7Kk.FagmILaKFd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YFFplLqK30SAXuERUTWO5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gkRPnJOe0anIXMQ6yWwQ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pxfcwp13ak.zAfh5OxeTL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C5tlZ1.AUK8v9aGVErrD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hOv3MqI4UithTjv06J11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ubyCJEbwUmT4YES55gf9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ndsD.VwL02mUBzeggNHD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_US60.f3JEuZyqXZ2vt_1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NWPRsWHe0KZw1S6kqmoc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hvfOq.n2k.fD6p.h.ka.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uHVo.lQwESsKd3JcLccp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A032MuuHskOCAvW35BR5u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RK7FnlpykOuau9cbHBlxQ"/>
</p:tagLst>
</file>

<file path=ppt/theme/theme1.xml><?xml version="1.0" encoding="utf-8"?>
<a:theme xmlns:a="http://schemas.openxmlformats.org/drawingml/2006/main" name="Deloitte Screen (medium) US07 3May11">
  <a:themeElements>
    <a:clrScheme name="Custom 1">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_Main Master - Deloitte Report (print) US03 Feb0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chemeClr val="tx2"/>
          </a:solidFill>
        </a:ln>
      </a:spPr>
      <a:bodyPr rtlCol="0" anchor="ctr"/>
      <a:lstStyle>
        <a:defPPr algn="ctr">
          <a:defRPr sz="2000" b="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dirty="0" err="1" smtClean="0"/>
        </a:defPPr>
      </a:lstStyle>
    </a:txDef>
  </a:objectDefaults>
  <a:extraClrSchemeLst/>
</a:theme>
</file>

<file path=ppt/theme/theme2.xml><?xml version="1.0" encoding="utf-8"?>
<a:theme xmlns:a="http://schemas.openxmlformats.org/drawingml/2006/main" name="Dbriefs PPT Template Q1'11">
  <a:themeElements>
    <a:clrScheme name="Custom 1">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_Main Master - Deloitte Report (print) US03 Feb0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chemeClr val="tx1"/>
          </a:solidFill>
        </a:ln>
      </a:spPr>
      <a:bodyPr lIns="45720" tIns="45720" rIns="45720" rtlCol="0" anchor="ctr"/>
      <a:lstStyle>
        <a:defPPr algn="ctr">
          <a:defRPr sz="1800" b="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spcBef>
            <a:spcPts val="600"/>
          </a:spcBef>
          <a:defRPr sz="1800" dirty="0" err="1" smtClean="0"/>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Urls xmlns="http://schemas.microsoft.com/sharepoint/v3/contenttype/forms/url">
  <Edit>_layouts/Deloitte.DCS.Application/WorkRequestDocs/WorkRequestDocsEditForm.aspx</Edit>
</FormUrls>
</file>

<file path=customXml/item2.xml><?xml version="1.0" encoding="utf-8"?>
<p:properties xmlns:p="http://schemas.microsoft.com/office/2006/metadata/properties" xmlns:xsi="http://www.w3.org/2001/XMLSchema-instance" xmlns:pc="http://schemas.microsoft.com/office/infopath/2007/PartnerControls">
  <documentManagement>
    <CreatedDateHST xmlns="f12f2fac-7b28-4eda-8ee2-485282bc6d88">2011-07-04T16:18:00+00:00</CreatedDateHST>
    <CreatedDateMST xmlns="f12f2fac-7b28-4eda-8ee2-485282bc6d88">2011-07-04T20:18:00+00:00</CreatedDateMST>
    <ModifiedDateEST xmlns="f12f2fac-7b28-4eda-8ee2-485282bc6d88">2011-07-04T22:19:00+00:00</ModifiedDateEST>
    <CheckoutOfflineDateTime xmlns="12c10688-b209-41fb-b88e-22cfa6c3442e">2011-07-04T21:18:55+00:00</CheckoutOfflineDateTime>
    <ModifiedDatePST xmlns="f12f2fac-7b28-4eda-8ee2-485282bc6d88">2011-07-04T19:19:00+00:00</ModifiedDatePST>
    <DCS_x0020_Number xmlns="0e85bac0-2c97-4236-84b6-4828d7544fcd">DCS0852230</DCS_x0020_Number>
    <WRDocsStatus xmlns="b5e5ca0d-667b-4e9e-81db-9730f2f9619f">Project files</WRDocsStatus>
    <CreatedDateIST xmlns="f12f2fac-7b28-4eda-8ee2-485282bc6d88">2011-07-05T07:48:00+00:00</CreatedDateIST>
    <CreatedDateCST xmlns="f12f2fac-7b28-4eda-8ee2-485282bc6d88">2011-07-04T21:18:00+00:00</CreatedDateCST>
    <ModifiedDateCST xmlns="f12f2fac-7b28-4eda-8ee2-485282bc6d88">2011-07-04T21:19:00+00:00</ModifiedDateCST>
    <ModifiedDateAST xmlns="f12f2fac-7b28-4eda-8ee2-485282bc6d88">2011-07-04T23:19:00+00:00</ModifiedDateAST>
    <Extension xmlns="ce145921-e906-4772-80e8-9010df619342">pptx</Extension>
    <WBS xmlns="b5e5ca0d-667b-4e9e-81db-9730f2f9619f">LPX10543-11-05-7100 </WBS>
    <CheckoutOfflineStatus xmlns="12c10688-b209-41fb-b88e-22cfa6c3442e" xsi:nil="true"/>
    <CreatedDatePST xmlns="f12f2fac-7b28-4eda-8ee2-485282bc6d88">2011-07-04T19:18:00+00:00</CreatedDatePST>
    <ModifiedDateMST xmlns="f12f2fac-7b28-4eda-8ee2-485282bc6d88">2011-07-04T20:19:00+00:00</ModifiedDateMST>
    <Client_x0020_Name xmlns="0e85bac0-2c97-4236-84b6-4828d7544fcd" xsi:nil="true"/>
    <Doc_x0020_Number xmlns="0e85bac0-2c97-4236-84b6-4828d7544fcd">DOC0245371</Doc_x0020_Number>
    <CreatedDateEST xmlns="f12f2fac-7b28-4eda-8ee2-485282bc6d88">2011-07-04T22:18:00+00:00</CreatedDateEST>
    <ModifiedDateIST xmlns="f12f2fac-7b28-4eda-8ee2-485282bc6d88">2011-07-05T07:49:00+00:00</ModifiedDateIST>
    <IncrementDocVersion xmlns="0e79d255-859a-4d21-9262-7c9f40149998">Yes</IncrementDocVersion>
    <ModifiedDateHST xmlns="f12f2fac-7b28-4eda-8ee2-485282bc6d88">2011-07-04T16:19:00+00:00</ModifiedDateHST>
    <CreatedDateAST xmlns="f12f2fac-7b28-4eda-8ee2-485282bc6d88">2011-07-04T23:18:00+00:00</CreatedDateAST>
    <Document_x0020_Type xmlns="0e85bac0-2c97-4236-84b6-4828d7544fcd">Marketing Material</Document_x0020_Type>
    <CheckoutOffline xmlns="12c10688-b209-41fb-b88e-22cfa6c3442e">No</CheckoutOffline>
    <DocCreatedAction xmlns="0e79d255-859a-4d21-9262-7c9f40149998" xsi:nil="true"/>
  </documentManagement>
</p:properties>
</file>

<file path=customXml/item3.xml><?xml version="1.0" encoding="utf-8"?>
<ct:contentTypeSchema xmlns:ct="http://schemas.microsoft.com/office/2006/metadata/contentType" xmlns:ma="http://schemas.microsoft.com/office/2006/metadata/properties/metaAttributes" ct:_="" ma:_="" ma:contentTypeName="WorkRequestDocs" ma:contentTypeID="0x010100009FC2F68107D84BBE8F8F52FD4C4B7F007B4AB5A6737C554B962785C899DEFDF7" ma:contentTypeVersion="51" ma:contentTypeDescription="" ma:contentTypeScope="" ma:versionID="262586a40a2e2fc7797f35b07210f7cc">
  <xsd:schema xmlns:xsd="http://www.w3.org/2001/XMLSchema" xmlns:xs="http://www.w3.org/2001/XMLSchema" xmlns:p="http://schemas.microsoft.com/office/2006/metadata/properties" xmlns:ns2="0e85bac0-2c97-4236-84b6-4828d7544fcd" xmlns:ns3="b5e5ca0d-667b-4e9e-81db-9730f2f9619f" xmlns:ns4="12c10688-b209-41fb-b88e-22cfa6c3442e" xmlns:ns5="f12f2fac-7b28-4eda-8ee2-485282bc6d88" xmlns:ns6="0e79d255-859a-4d21-9262-7c9f40149998" xmlns:ns7="ce145921-e906-4772-80e8-9010df619342" targetNamespace="http://schemas.microsoft.com/office/2006/metadata/properties" ma:root="true" ma:fieldsID="06f84af024df82a99c530ef0acdbbdf6" ns2:_="" ns3:_="" ns4:_="" ns5:_="" ns6:_="" ns7:_="">
    <xsd:import namespace="0e85bac0-2c97-4236-84b6-4828d7544fcd"/>
    <xsd:import namespace="b5e5ca0d-667b-4e9e-81db-9730f2f9619f"/>
    <xsd:import namespace="12c10688-b209-41fb-b88e-22cfa6c3442e"/>
    <xsd:import namespace="f12f2fac-7b28-4eda-8ee2-485282bc6d88"/>
    <xsd:import namespace="0e79d255-859a-4d21-9262-7c9f40149998"/>
    <xsd:import namespace="ce145921-e906-4772-80e8-9010df619342"/>
    <xsd:element name="properties">
      <xsd:complexType>
        <xsd:sequence>
          <xsd:element name="documentManagement">
            <xsd:complexType>
              <xsd:all>
                <xsd:element ref="ns2:DCS_x0020_Number" minOccurs="0"/>
                <xsd:element ref="ns2:Doc_x0020_Number" minOccurs="0"/>
                <xsd:element ref="ns2:Document_x0020_Type" minOccurs="0"/>
                <xsd:element ref="ns3:WRDocsStatus" minOccurs="0"/>
                <xsd:element ref="ns2:Client_x0020_Name" minOccurs="0"/>
                <xsd:element ref="ns3:WBS" minOccurs="0"/>
                <xsd:element ref="ns4:CheckoutOffline"/>
                <xsd:element ref="ns4:CheckoutOfflineDateTime"/>
                <xsd:element ref="ns4:CheckoutOfflineStatus" minOccurs="0"/>
                <xsd:element ref="ns5:ModifiedDateAST" minOccurs="0"/>
                <xsd:element ref="ns5:ModifiedDateEST" minOccurs="0"/>
                <xsd:element ref="ns5:ModifiedDateHST" minOccurs="0"/>
                <xsd:element ref="ns5:ModifiedDateIST" minOccurs="0"/>
                <xsd:element ref="ns5:ModifiedDateMST" minOccurs="0"/>
                <xsd:element ref="ns5:ModifiedDatePST" minOccurs="0"/>
                <xsd:element ref="ns5:CreatedDateAST" minOccurs="0"/>
                <xsd:element ref="ns5:CreatedDateEST" minOccurs="0"/>
                <xsd:element ref="ns5:CreatedDateHST" minOccurs="0"/>
                <xsd:element ref="ns5:CreatedDateIST" minOccurs="0"/>
                <xsd:element ref="ns5:CreatedDateMST" minOccurs="0"/>
                <xsd:element ref="ns5:CreatedDatePST" minOccurs="0"/>
                <xsd:element ref="ns5:CreatedDateCST" minOccurs="0"/>
                <xsd:element ref="ns5:ModifiedDateCST" minOccurs="0"/>
                <xsd:element ref="ns6:IncrementDocVersion" minOccurs="0"/>
                <xsd:element ref="ns6:DocCreatedAction" minOccurs="0"/>
                <xsd:element ref="ns7:Exten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e85bac0-2c97-4236-84b6-4828d7544fcd" elementFormDefault="qualified">
    <xsd:import namespace="http://schemas.microsoft.com/office/2006/documentManagement/types"/>
    <xsd:import namespace="http://schemas.microsoft.com/office/infopath/2007/PartnerControls"/>
    <xsd:element name="DCS_x0020_Number" ma:index="1" nillable="true" ma:displayName="DCS Number" ma:indexed="true" ma:internalName="DCS_x0020_Number">
      <xsd:simpleType>
        <xsd:restriction base="dms:Text">
          <xsd:maxLength value="10"/>
        </xsd:restriction>
      </xsd:simpleType>
    </xsd:element>
    <xsd:element name="Doc_x0020_Number" ma:index="2" nillable="true" ma:displayName="Doc Number" ma:indexed="true" ma:internalName="Doc_x0020_Number">
      <xsd:simpleType>
        <xsd:restriction base="dms:Text">
          <xsd:maxLength value="10"/>
        </xsd:restriction>
      </xsd:simpleType>
    </xsd:element>
    <xsd:element name="Document_x0020_Type" ma:index="4" nillable="true" ma:displayName="Document Type" ma:indexed="true" ma:internalName="Document_x0020_Type">
      <xsd:simpleType>
        <xsd:restriction base="dms:Text">
          <xsd:maxLength value="150"/>
        </xsd:restriction>
      </xsd:simpleType>
    </xsd:element>
    <xsd:element name="Client_x0020_Name" ma:index="6" nillable="true" ma:displayName="Client Name" ma:internalName="Client_x0020_Name">
      <xsd:simpleType>
        <xsd:restriction base="dms:Text">
          <xsd:maxLength value="250"/>
        </xsd:restriction>
      </xsd:simpleType>
    </xsd:element>
  </xsd:schema>
  <xsd:schema xmlns:xsd="http://www.w3.org/2001/XMLSchema" xmlns:xs="http://www.w3.org/2001/XMLSchema" xmlns:dms="http://schemas.microsoft.com/office/2006/documentManagement/types" xmlns:pc="http://schemas.microsoft.com/office/infopath/2007/PartnerControls" targetNamespace="b5e5ca0d-667b-4e9e-81db-9730f2f9619f" elementFormDefault="qualified">
    <xsd:import namespace="http://schemas.microsoft.com/office/2006/documentManagement/types"/>
    <xsd:import namespace="http://schemas.microsoft.com/office/infopath/2007/PartnerControls"/>
    <xsd:element name="WRDocsStatus" ma:index="5" nillable="true" ma:displayName="Status" ma:indexed="true" ma:internalName="WRDocsStatus">
      <xsd:simpleType>
        <xsd:restriction base="dms:Text">
          <xsd:maxLength value="20"/>
        </xsd:restriction>
      </xsd:simpleType>
    </xsd:element>
    <xsd:element name="WBS" ma:index="7" nillable="true" ma:displayName="WBS" ma:internalName="WBS">
      <xsd:simpleType>
        <xsd:restriction base="dms:Text">
          <xsd:maxLength value="25"/>
        </xsd:restriction>
      </xsd:simpleType>
    </xsd:element>
  </xsd:schema>
  <xsd:schema xmlns:xsd="http://www.w3.org/2001/XMLSchema" xmlns:xs="http://www.w3.org/2001/XMLSchema" xmlns:dms="http://schemas.microsoft.com/office/2006/documentManagement/types" xmlns:pc="http://schemas.microsoft.com/office/infopath/2007/PartnerControls" targetNamespace="12c10688-b209-41fb-b88e-22cfa6c3442e" elementFormDefault="qualified">
    <xsd:import namespace="http://schemas.microsoft.com/office/2006/documentManagement/types"/>
    <xsd:import namespace="http://schemas.microsoft.com/office/infopath/2007/PartnerControls"/>
    <xsd:element name="CheckoutOffline" ma:index="15" ma:displayName="CheckoutOffline" ma:default="No" ma:internalName="CheckoutOffline">
      <xsd:simpleType>
        <xsd:restriction base="dms:Text">
          <xsd:maxLength value="255"/>
        </xsd:restriction>
      </xsd:simpleType>
    </xsd:element>
    <xsd:element name="CheckoutOfflineDateTime" ma:index="16" ma:displayName="CheckoutOfflineDateTime" ma:default="[today]" ma:format="DateTime" ma:internalName="CheckoutOfflineDateTime">
      <xsd:simpleType>
        <xsd:restriction base="dms:DateTime"/>
      </xsd:simpleType>
    </xsd:element>
    <xsd:element name="CheckoutOfflineStatus" ma:index="17" nillable="true" ma:displayName="CheckoutOfflineStatus" ma:internalName="CheckoutOfflineStatu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12f2fac-7b28-4eda-8ee2-485282bc6d88" elementFormDefault="qualified">
    <xsd:import namespace="http://schemas.microsoft.com/office/2006/documentManagement/types"/>
    <xsd:import namespace="http://schemas.microsoft.com/office/infopath/2007/PartnerControls"/>
    <xsd:element name="ModifiedDateAST" ma:index="18" nillable="true" ma:displayName="ModifiedDateAST" ma:format="DateTime" ma:internalName="ModifiedDateAST">
      <xsd:simpleType>
        <xsd:restriction base="dms:DateTime"/>
      </xsd:simpleType>
    </xsd:element>
    <xsd:element name="ModifiedDateEST" ma:index="19" nillable="true" ma:displayName="ModifiedDateEST" ma:format="DateTime" ma:indexed="true" ma:internalName="ModifiedDateEST">
      <xsd:simpleType>
        <xsd:restriction base="dms:DateTime"/>
      </xsd:simpleType>
    </xsd:element>
    <xsd:element name="ModifiedDateHST" ma:index="20" nillable="true" ma:displayName="ModifiedDateHST" ma:format="DateTime" ma:internalName="ModifiedDateHST">
      <xsd:simpleType>
        <xsd:restriction base="dms:DateTime"/>
      </xsd:simpleType>
    </xsd:element>
    <xsd:element name="ModifiedDateIST" ma:index="21" nillable="true" ma:displayName="ModifiedDateIST" ma:format="DateTime" ma:indexed="true" ma:internalName="ModifiedDateIST">
      <xsd:simpleType>
        <xsd:restriction base="dms:DateTime"/>
      </xsd:simpleType>
    </xsd:element>
    <xsd:element name="ModifiedDateMST" ma:index="22" nillable="true" ma:displayName="ModifiedDateMST" ma:format="DateTime" ma:internalName="ModifiedDateMST">
      <xsd:simpleType>
        <xsd:restriction base="dms:DateTime"/>
      </xsd:simpleType>
    </xsd:element>
    <xsd:element name="ModifiedDatePST" ma:index="23" nillable="true" ma:displayName="ModifiedDatePST" ma:format="DateTime" ma:internalName="ModifiedDatePST">
      <xsd:simpleType>
        <xsd:restriction base="dms:DateTime"/>
      </xsd:simpleType>
    </xsd:element>
    <xsd:element name="CreatedDateAST" ma:index="24" nillable="true" ma:displayName="CreatedDateAST" ma:format="DateTime" ma:internalName="CreatedDateAST">
      <xsd:simpleType>
        <xsd:restriction base="dms:DateTime"/>
      </xsd:simpleType>
    </xsd:element>
    <xsd:element name="CreatedDateEST" ma:index="25" nillable="true" ma:displayName="CreatedDateEST" ma:format="DateTime" ma:internalName="CreatedDateEST">
      <xsd:simpleType>
        <xsd:restriction base="dms:DateTime"/>
      </xsd:simpleType>
    </xsd:element>
    <xsd:element name="CreatedDateHST" ma:index="26" nillable="true" ma:displayName="CreatedDateHST" ma:format="DateTime" ma:internalName="CreatedDateHST">
      <xsd:simpleType>
        <xsd:restriction base="dms:DateTime"/>
      </xsd:simpleType>
    </xsd:element>
    <xsd:element name="CreatedDateIST" ma:index="27" nillable="true" ma:displayName="CreatedDateIST" ma:format="DateTime" ma:internalName="CreatedDateIST">
      <xsd:simpleType>
        <xsd:restriction base="dms:DateTime"/>
      </xsd:simpleType>
    </xsd:element>
    <xsd:element name="CreatedDateMST" ma:index="28" nillable="true" ma:displayName="CreatedDateMST" ma:format="DateTime" ma:internalName="CreatedDateMST">
      <xsd:simpleType>
        <xsd:restriction base="dms:DateTime"/>
      </xsd:simpleType>
    </xsd:element>
    <xsd:element name="CreatedDatePST" ma:index="29" nillable="true" ma:displayName="CreatedDatePST" ma:format="DateTime" ma:internalName="CreatedDatePST">
      <xsd:simpleType>
        <xsd:restriction base="dms:DateTime"/>
      </xsd:simpleType>
    </xsd:element>
    <xsd:element name="CreatedDateCST" ma:index="30" nillable="true" ma:displayName="CreatedDateCST" ma:format="DateTime" ma:internalName="CreatedDateCST">
      <xsd:simpleType>
        <xsd:restriction base="dms:DateTime"/>
      </xsd:simpleType>
    </xsd:element>
    <xsd:element name="ModifiedDateCST" ma:index="31" nillable="true" ma:displayName="ModifiedDateCST" ma:format="DateTime" ma:indexed="true" ma:internalName="ModifiedDateCST">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0e79d255-859a-4d21-9262-7c9f40149998" elementFormDefault="qualified">
    <xsd:import namespace="http://schemas.microsoft.com/office/2006/documentManagement/types"/>
    <xsd:import namespace="http://schemas.microsoft.com/office/infopath/2007/PartnerControls"/>
    <xsd:element name="IncrementDocVersion" ma:index="32" nillable="true" ma:displayName="IncrementDocVersion" ma:default="Yes" ma:internalName="IncrementDocVersion">
      <xsd:simpleType>
        <xsd:restriction base="dms:Text">
          <xsd:maxLength value="255"/>
        </xsd:restriction>
      </xsd:simpleType>
    </xsd:element>
    <xsd:element name="DocCreatedAction" ma:index="33" nillable="true" ma:displayName="DocCreatedAction" ma:internalName="DocCreatedAction">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e145921-e906-4772-80e8-9010df619342" elementFormDefault="qualified">
    <xsd:import namespace="http://schemas.microsoft.com/office/2006/documentManagement/types"/>
    <xsd:import namespace="http://schemas.microsoft.com/office/infopath/2007/PartnerControls"/>
    <xsd:element name="Extension" ma:index="34" nillable="true" ma:displayName="Extension" ma:internalName="Extension">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3" ma:displayName="Document Name"/>
        <xsd:element ref="dc:subject" minOccurs="0" maxOccurs="1"/>
        <xsd:element ref="dc:description" minOccurs="0" maxOccurs="1" ma:index="8" ma:displayName="Comments"/>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97C0ED8-2567-4AB9-86DB-A112921F468D}">
  <ds:schemaRefs>
    <ds:schemaRef ds:uri="http://schemas.microsoft.com/sharepoint/v3/contenttype/forms/url"/>
  </ds:schemaRefs>
</ds:datastoreItem>
</file>

<file path=customXml/itemProps2.xml><?xml version="1.0" encoding="utf-8"?>
<ds:datastoreItem xmlns:ds="http://schemas.openxmlformats.org/officeDocument/2006/customXml" ds:itemID="{013F4BAB-003A-4C3A-B7B7-C1F67045B156}">
  <ds:schemaRefs>
    <ds:schemaRef ds:uri="http://schemas.microsoft.com/office/2006/documentManagement/types"/>
    <ds:schemaRef ds:uri="http://purl.org/dc/elements/1.1/"/>
    <ds:schemaRef ds:uri="http://www.w3.org/XML/1998/namespace"/>
    <ds:schemaRef ds:uri="b5e5ca0d-667b-4e9e-81db-9730f2f9619f"/>
    <ds:schemaRef ds:uri="12c10688-b209-41fb-b88e-22cfa6c3442e"/>
    <ds:schemaRef ds:uri="0e79d255-859a-4d21-9262-7c9f40149998"/>
    <ds:schemaRef ds:uri="http://schemas.microsoft.com/office/infopath/2007/PartnerControls"/>
    <ds:schemaRef ds:uri="http://purl.org/dc/dcmitype/"/>
    <ds:schemaRef ds:uri="http://purl.org/dc/terms/"/>
    <ds:schemaRef ds:uri="http://schemas.openxmlformats.org/package/2006/metadata/core-properties"/>
    <ds:schemaRef ds:uri="0e85bac0-2c97-4236-84b6-4828d7544fcd"/>
    <ds:schemaRef ds:uri="ce145921-e906-4772-80e8-9010df619342"/>
    <ds:schemaRef ds:uri="f12f2fac-7b28-4eda-8ee2-485282bc6d88"/>
    <ds:schemaRef ds:uri="http://schemas.microsoft.com/office/2006/metadata/properties"/>
  </ds:schemaRefs>
</ds:datastoreItem>
</file>

<file path=customXml/itemProps3.xml><?xml version="1.0" encoding="utf-8"?>
<ds:datastoreItem xmlns:ds="http://schemas.openxmlformats.org/officeDocument/2006/customXml" ds:itemID="{6FF5B19C-80D4-42D8-8DCA-C23879F442E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e85bac0-2c97-4236-84b6-4828d7544fcd"/>
    <ds:schemaRef ds:uri="b5e5ca0d-667b-4e9e-81db-9730f2f9619f"/>
    <ds:schemaRef ds:uri="12c10688-b209-41fb-b88e-22cfa6c3442e"/>
    <ds:schemaRef ds:uri="f12f2fac-7b28-4eda-8ee2-485282bc6d88"/>
    <ds:schemaRef ds:uri="0e79d255-859a-4d21-9262-7c9f40149998"/>
    <ds:schemaRef ds:uri="ce145921-e906-4772-80e8-9010df61934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loitte Screen (medium) US07 3May11</Template>
  <TotalTime>2047</TotalTime>
  <Words>2138</Words>
  <Application>Microsoft Office PowerPoint</Application>
  <PresentationFormat>On-screen Show (4:3)</PresentationFormat>
  <Paragraphs>243</Paragraphs>
  <Slides>26</Slides>
  <Notes>26</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26</vt:i4>
      </vt:variant>
    </vt:vector>
  </HeadingPairs>
  <TitlesOfParts>
    <vt:vector size="29" baseType="lpstr">
      <vt:lpstr>Deloitte Screen (medium) US07 3May11</vt:lpstr>
      <vt:lpstr>Dbriefs PPT Template Q1'11</vt:lpstr>
      <vt:lpstr>think-cell Slide</vt:lpstr>
      <vt:lpstr>Elements of an Effective Anti-Corruption Program</vt:lpstr>
      <vt:lpstr>Table of contents</vt:lpstr>
      <vt:lpstr>Overview of FCPA and UK Bribery Act</vt:lpstr>
      <vt:lpstr>FCPA overview</vt:lpstr>
      <vt:lpstr>FCPA overview (cont.)</vt:lpstr>
      <vt:lpstr>FCPA overview (cont.)</vt:lpstr>
      <vt:lpstr>FCPA books and records provision</vt:lpstr>
      <vt:lpstr>Apparent regulatory focus</vt:lpstr>
      <vt:lpstr>U.K. Bribery Act</vt:lpstr>
      <vt:lpstr>U.K. Bribery Act (Contd.)</vt:lpstr>
      <vt:lpstr>Global Corruption Perception Index</vt:lpstr>
      <vt:lpstr>Elements of an Effective Anti-Corruption Compliance Program</vt:lpstr>
      <vt:lpstr>US Federal sentencing guidelines</vt:lpstr>
      <vt:lpstr>PowerPoint Presentation</vt:lpstr>
      <vt:lpstr>Common current state vs. leading practices</vt:lpstr>
      <vt:lpstr>Corruption risk assessment high-level approach</vt:lpstr>
      <vt:lpstr>Corruption risk assessment considerations</vt:lpstr>
      <vt:lpstr>Sample corruption risk areas/red flags</vt:lpstr>
      <vt:lpstr>Anti-corruption compliance program examples and considerations</vt:lpstr>
      <vt:lpstr>Anti-corruption compliance program examples and considerations (contd.)</vt:lpstr>
      <vt:lpstr>Anti-corruption compliance program examples and considerations (Contd.)</vt:lpstr>
      <vt:lpstr>Dealing with corruption allegations</vt:lpstr>
      <vt:lpstr>What questions do you have?</vt:lpstr>
      <vt:lpstr>Contact information</vt:lpstr>
      <vt:lpstr>PowerPoint Presentation</vt:lpstr>
      <vt:lpstr>PowerPoint Presentation</vt:lpstr>
    </vt:vector>
  </TitlesOfParts>
  <Company>Deloitt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852230 FCPA for PEHFMF.pptx</dc:title>
  <dc:creator>Jayaraman, Veda Balaji</dc:creator>
  <cp:lastModifiedBy>Ahmed, Mohammed</cp:lastModifiedBy>
  <cp:revision>140</cp:revision>
  <dcterms:created xsi:type="dcterms:W3CDTF">2011-07-04T17:24:21Z</dcterms:created>
  <dcterms:modified xsi:type="dcterms:W3CDTF">2012-03-09T23:27: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09FC2F68107D84BBE8F8F52FD4C4B7F007B4AB5A6737C554B962785C899DEFDF7</vt:lpwstr>
  </property>
</Properties>
</file>